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1"/>
    <p:sldMasterId id="2147483714" r:id="rId2"/>
    <p:sldMasterId id="2147483660" r:id="rId3"/>
    <p:sldMasterId id="2147483658" r:id="rId4"/>
  </p:sldMasterIdLst>
  <p:notesMasterIdLst>
    <p:notesMasterId r:id="rId29"/>
  </p:notesMasterIdLst>
  <p:sldIdLst>
    <p:sldId id="279" r:id="rId5"/>
    <p:sldId id="385" r:id="rId6"/>
    <p:sldId id="383" r:id="rId7"/>
    <p:sldId id="388" r:id="rId8"/>
    <p:sldId id="292" r:id="rId9"/>
    <p:sldId id="296" r:id="rId10"/>
    <p:sldId id="327" r:id="rId11"/>
    <p:sldId id="316" r:id="rId12"/>
    <p:sldId id="326" r:id="rId13"/>
    <p:sldId id="392" r:id="rId14"/>
    <p:sldId id="295" r:id="rId15"/>
    <p:sldId id="390" r:id="rId16"/>
    <p:sldId id="389" r:id="rId17"/>
    <p:sldId id="328" r:id="rId18"/>
    <p:sldId id="298" r:id="rId19"/>
    <p:sldId id="288" r:id="rId20"/>
    <p:sldId id="331" r:id="rId21"/>
    <p:sldId id="366" r:id="rId22"/>
    <p:sldId id="367" r:id="rId23"/>
    <p:sldId id="379" r:id="rId24"/>
    <p:sldId id="373" r:id="rId25"/>
    <p:sldId id="374" r:id="rId26"/>
    <p:sldId id="377" r:id="rId27"/>
    <p:sldId id="380" r:id="rId28"/>
  </p:sldIdLst>
  <p:sldSz cx="12192000" cy="6858000"/>
  <p:notesSz cx="6808788" cy="99409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6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D3D3"/>
    <a:srgbClr val="4D4D4D"/>
    <a:srgbClr val="376092"/>
    <a:srgbClr val="FCD5B5"/>
    <a:srgbClr val="D5FFEE"/>
    <a:srgbClr val="E6B9B8"/>
    <a:srgbClr val="DDD9C3"/>
    <a:srgbClr val="95B3D7"/>
    <a:srgbClr val="EE7203"/>
    <a:srgbClr val="F796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739" autoAdjust="0"/>
    <p:restoredTop sz="85814" autoAdjust="0"/>
  </p:normalViewPr>
  <p:slideViewPr>
    <p:cSldViewPr snapToGrid="0">
      <p:cViewPr varScale="1">
        <p:scale>
          <a:sx n="98" d="100"/>
          <a:sy n="98" d="100"/>
        </p:scale>
        <p:origin x="510" y="90"/>
      </p:cViewPr>
      <p:guideLst>
        <p:guide orient="horz" pos="2160"/>
        <p:guide pos="6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380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9C005E7-C739-4EAE-B36A-EC0852D32B0A}" type="datetimeFigureOut">
              <a:rPr lang="de-DE" smtClean="0"/>
              <a:pPr/>
              <a:t>29.02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622300"/>
            <a:ext cx="5961062" cy="3354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879" y="4099322"/>
            <a:ext cx="5447030" cy="521437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8726073-5594-41EF-91DD-380CF69677F7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7913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ts val="1800"/>
      </a:lnSpc>
      <a:spcBef>
        <a:spcPts val="300"/>
      </a:spcBef>
      <a:spcAft>
        <a:spcPts val="300"/>
      </a:spcAft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lnSpc>
        <a:spcPts val="1800"/>
      </a:lnSpc>
      <a:spcBef>
        <a:spcPts val="300"/>
      </a:spcBef>
      <a:spcAft>
        <a:spcPts val="300"/>
      </a:spcAft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lnSpc>
        <a:spcPts val="1800"/>
      </a:lnSpc>
      <a:spcBef>
        <a:spcPts val="300"/>
      </a:spcBef>
      <a:spcAft>
        <a:spcPts val="300"/>
      </a:spcAft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lnSpc>
        <a:spcPts val="1800"/>
      </a:lnSpc>
      <a:spcBef>
        <a:spcPts val="300"/>
      </a:spcBef>
      <a:spcAft>
        <a:spcPts val="300"/>
      </a:spcAft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lnSpc>
        <a:spcPts val="1800"/>
      </a:lnSpc>
      <a:spcBef>
        <a:spcPts val="300"/>
      </a:spcBef>
      <a:spcAft>
        <a:spcPts val="300"/>
      </a:spcAft>
      <a:defRPr sz="14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515938" y="476250"/>
            <a:ext cx="5759450" cy="3240088"/>
          </a:xfrm>
        </p:spPr>
      </p:sp>
      <p:sp>
        <p:nvSpPr>
          <p:cNvPr id="3" name="Notizenplatzhalter 2"/>
          <p:cNvSpPr>
            <a:spLocks noGrp="1" noChangeAspect="1"/>
          </p:cNvSpPr>
          <p:nvPr>
            <p:ph type="body" idx="1"/>
          </p:nvPr>
        </p:nvSpPr>
        <p:spPr>
          <a:xfrm>
            <a:off x="516334" y="3968750"/>
            <a:ext cx="5758657" cy="5473403"/>
          </a:xfrm>
        </p:spPr>
        <p:txBody>
          <a:bodyPr/>
          <a:lstStyle/>
          <a:p>
            <a:pPr marL="285750" indent="-285750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 Arial"/>
              </a:rPr>
              <a:t>Einordnung der SKB in die TSK und (</a:t>
            </a:r>
            <a:r>
              <a:rPr lang="de-DE" sz="1400" dirty="0" err="1">
                <a:latin typeface=" Arial"/>
              </a:rPr>
              <a:t>Mil</a:t>
            </a:r>
            <a:r>
              <a:rPr lang="de-DE" sz="1400" dirty="0">
                <a:latin typeface=" Arial"/>
              </a:rPr>
              <a:t>)</a:t>
            </a:r>
            <a:r>
              <a:rPr lang="de-DE" sz="1400" dirty="0" err="1">
                <a:latin typeface=" Arial"/>
              </a:rPr>
              <a:t>OrgBer</a:t>
            </a:r>
            <a:endParaRPr lang="de-DE" sz="1400" dirty="0">
              <a:latin typeface=" 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726073-5594-41EF-91DD-380CF69677F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95756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49238" y="517525"/>
            <a:ext cx="6259512" cy="3522663"/>
          </a:xfrm>
        </p:spPr>
      </p:sp>
      <p:sp>
        <p:nvSpPr>
          <p:cNvPr id="3" name="Notizenplatzhalter 2"/>
          <p:cNvSpPr>
            <a:spLocks noGrp="1" noChangeAspect="1"/>
          </p:cNvSpPr>
          <p:nvPr>
            <p:ph type="body" idx="1"/>
          </p:nvPr>
        </p:nvSpPr>
        <p:spPr>
          <a:xfrm>
            <a:off x="519915" y="4314638"/>
            <a:ext cx="5717334" cy="5950425"/>
          </a:xfrm>
        </p:spPr>
        <p:txBody>
          <a:bodyPr/>
          <a:lstStyle/>
          <a:p>
            <a:pPr marL="285750" indent="-285750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 Arial"/>
              </a:rPr>
              <a:t>JSEC in erster Linie Einrichtung, die erst bei einem „</a:t>
            </a:r>
            <a:r>
              <a:rPr lang="de-DE" sz="1400" dirty="0" err="1">
                <a:latin typeface=" Arial"/>
              </a:rPr>
              <a:t>maximum</a:t>
            </a:r>
            <a:r>
              <a:rPr lang="de-DE" sz="1400" dirty="0">
                <a:latin typeface=" Arial"/>
              </a:rPr>
              <a:t> </a:t>
            </a:r>
            <a:r>
              <a:rPr lang="de-DE" sz="1400" dirty="0" err="1">
                <a:latin typeface=" Arial"/>
              </a:rPr>
              <a:t>level</a:t>
            </a:r>
            <a:r>
              <a:rPr lang="de-DE" sz="1400" dirty="0">
                <a:latin typeface=" Arial"/>
              </a:rPr>
              <a:t> </a:t>
            </a:r>
            <a:r>
              <a:rPr lang="de-DE" sz="1400" dirty="0" err="1">
                <a:latin typeface=" Arial"/>
              </a:rPr>
              <a:t>of</a:t>
            </a:r>
            <a:r>
              <a:rPr lang="de-DE" sz="1400" dirty="0">
                <a:latin typeface=" Arial"/>
              </a:rPr>
              <a:t> </a:t>
            </a:r>
            <a:r>
              <a:rPr lang="de-DE" sz="1400" dirty="0" err="1">
                <a:latin typeface=" Arial"/>
              </a:rPr>
              <a:t>effort</a:t>
            </a:r>
            <a:r>
              <a:rPr lang="de-DE" sz="1400" dirty="0">
                <a:latin typeface=" Arial"/>
              </a:rPr>
              <a:t>“ aktiviert wird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 Arial"/>
              </a:rPr>
              <a:t>Verantwortlich für den rückwärtigen Raum nimmt es dargestellte Aufgaben wahr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 Arial"/>
              </a:rPr>
              <a:t>Manning bei Aktivierung: ~ 500 PX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>
                <a:latin typeface=" Arial"/>
              </a:rPr>
              <a:t>Manning in Friedenszeiten: ~ 100 PX</a:t>
            </a:r>
          </a:p>
          <a:p>
            <a:pPr marL="285750" indent="-285750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z="1400" dirty="0">
              <a:latin typeface=" 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726073-5594-41EF-91DD-380CF69677F7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8570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olie ist animiert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726073-5594-41EF-91DD-380CF69677F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11184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620713"/>
            <a:ext cx="5964238" cy="3355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726073-5594-41EF-91DD-380CF69677F7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20400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620713"/>
            <a:ext cx="5964238" cy="33559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726073-5594-41EF-91DD-380CF69677F7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7781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726073-5594-41EF-91DD-380CF69677F7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08320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8113" y="676275"/>
            <a:ext cx="6473825" cy="36417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PS=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660">
              <a:defRPr/>
            </a:pPr>
            <a:fld id="{BCC64CBD-E6EA-4A43-99C8-C107F23DE09A}" type="slidenum">
              <a:rPr lang="de-DE">
                <a:solidFill>
                  <a:prstClr val="black"/>
                </a:solidFill>
                <a:latin typeface="Calibri" panose="020F0502020204030204"/>
              </a:rPr>
              <a:pPr defTabSz="685660">
                <a:defRPr/>
              </a:pPr>
              <a:t>18</a:t>
            </a:fld>
            <a:endParaRPr lang="de-D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849600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28614" y="3985022"/>
            <a:ext cx="6138861" cy="521437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726073-5594-41EF-91DD-380CF69677F7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58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726073-5594-41EF-91DD-380CF69677F7}" type="slidenum">
              <a:rPr lang="de-DE" smtClean="0"/>
              <a:pPr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79433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63663" y="631825"/>
            <a:ext cx="3754437" cy="21129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36085" y="3373246"/>
            <a:ext cx="5385691" cy="6725463"/>
          </a:xfrm>
        </p:spPr>
        <p:txBody>
          <a:bodyPr>
            <a:spAutoFit/>
          </a:bodyPr>
          <a:lstStyle/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eitere in DEU zu erbringende Aufgabe ist die logistische Unterstützung der Verlegung eigener Kräfte sowie des Transits alliierter Kräfte </a:t>
            </a: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Hierzu sind im Fähigkeitsprofil keine militärischen Kräfte (nötig 2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tl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) vorgesehen. </a:t>
            </a: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bsicht ist die Deckung des Bedarfs über einen Rahmenvertrag</a:t>
            </a: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ieser Ansatz spart im Fähigkeitsprofil der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Bw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ca. 2000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mil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DP 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ines von mehreren Projekten in unserer Kooperation mit der Wirtschaft. (ggf. Bezug zu Besuch AL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FüSK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bei Veranstaltung in Berlin)</a:t>
            </a: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Die Vorbereitungen für das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angestrebte Vergabeverfahren laufen auf Hochtouren.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Ziel ist es, 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Leistungen spätestens für die nächste VJTF </a:t>
            </a:r>
            <a:r>
              <a:rPr lang="de-DE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stand-by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Phase ab 2023 abrufen zu können. </a:t>
            </a: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In den letzten Monaten wurden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durch die intensive Zusammenarbeit des </a:t>
            </a:r>
            <a:r>
              <a:rPr lang="de-DE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LogKdoBw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mit den Ressourcenämtern und dem Ministerium wichtige Voraussetzung auf dem Weg zum Vergabeverfahren geschaffen.</a:t>
            </a: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Einrichtung „</a:t>
            </a:r>
            <a:r>
              <a:rPr lang="de-DE" sz="1200" b="1" baseline="0" dirty="0">
                <a:latin typeface="Arial" panose="020B0604020202020204" pitchFamily="34" charset="0"/>
                <a:cs typeface="Arial" panose="020B0604020202020204" pitchFamily="34" charset="0"/>
              </a:rPr>
              <a:t>Projektgruppe Logistische Unterstützung der Verlegung von Kräften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“ durch Erlass </a:t>
            </a:r>
            <a:r>
              <a:rPr lang="de-DE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FüSK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II 4</a:t>
            </a: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Mitglieder: </a:t>
            </a:r>
            <a:r>
              <a:rPr lang="de-DE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BAAINBw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BAIDUBw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PlgABw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DE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LogKdoBw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(FF) </a:t>
            </a: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iel: noch in 2020 die Vergabeunterlagen fertigstellen und in 2021 die Vergabe durchführen</a:t>
            </a: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inrichtung „</a:t>
            </a:r>
            <a:r>
              <a:rPr lang="de-DE" sz="1200" b="1" baseline="0" dirty="0">
                <a:latin typeface="Arial" panose="020B0604020202020204" pitchFamily="34" charset="0"/>
                <a:cs typeface="Arial" panose="020B0604020202020204" pitchFamily="34" charset="0"/>
              </a:rPr>
              <a:t>integrierten Projektteam (IPT) 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durch Erlass </a:t>
            </a:r>
            <a:r>
              <a:rPr lang="de-DE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Plg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II 5 </a:t>
            </a:r>
          </a:p>
          <a:p>
            <a:pPr marL="171450" indent="-17145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iel: </a:t>
            </a:r>
            <a:r>
              <a:rPr lang="de-DE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Erstellung der vorgeschriebenen Forderungsdokumente und HHM Anmeldung für den Einzelplan 14  </a:t>
            </a:r>
          </a:p>
          <a:p>
            <a:pPr algn="just">
              <a:lnSpc>
                <a:spcPct val="100000"/>
              </a:lnSpc>
            </a:pPr>
            <a:endParaRPr lang="de-DE" sz="1200" baseline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C64CBD-E6EA-4A43-99C8-C107F23DE09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egular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708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OFFEN Wapp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1654200" y="1257754"/>
            <a:ext cx="948188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238" y="1372609"/>
            <a:ext cx="1024898" cy="1224000"/>
          </a:xfrm>
          <a:prstGeom prst="rect">
            <a:avLst/>
          </a:prstGeom>
        </p:spPr>
      </p:pic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OFFEN</a:t>
            </a:r>
          </a:p>
        </p:txBody>
      </p:sp>
    </p:spTree>
    <p:extLst>
      <p:ext uri="{BB962C8B-B14F-4D97-AF65-F5344CB8AC3E}">
        <p14:creationId xmlns:p14="http://schemas.microsoft.com/office/powerpoint/2010/main" val="355902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Wappen VS NF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1654200" y="1257754"/>
            <a:ext cx="948188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238" y="1372609"/>
            <a:ext cx="1024898" cy="1224000"/>
          </a:xfrm>
          <a:prstGeom prst="rect">
            <a:avLst/>
          </a:prstGeom>
        </p:spPr>
      </p:pic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VS – NUR FÜR DEN </a:t>
            </a:r>
            <a:r>
              <a:rPr kumimoji="0" lang="de-DE" sz="750" b="1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dIENSTGEBRAUCH</a:t>
            </a:r>
            <a:endParaRPr kumimoji="0" lang="de-DE" sz="75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2511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Wappen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1654200" y="1257754"/>
            <a:ext cx="948188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238" y="1372609"/>
            <a:ext cx="1024898" cy="1224000"/>
          </a:xfrm>
          <a:prstGeom prst="rect">
            <a:avLst/>
          </a:prstGeom>
        </p:spPr>
      </p:pic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1397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Wappen NATO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1654200" y="1257754"/>
            <a:ext cx="948188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238" y="1372609"/>
            <a:ext cx="1024898" cy="1224000"/>
          </a:xfrm>
          <a:prstGeom prst="rect">
            <a:avLst/>
          </a:prstGeom>
        </p:spPr>
      </p:pic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NATO RESTRICTED</a:t>
            </a:r>
          </a:p>
        </p:txBody>
      </p:sp>
    </p:spTree>
    <p:extLst>
      <p:ext uri="{BB962C8B-B14F-4D97-AF65-F5344CB8AC3E}">
        <p14:creationId xmlns:p14="http://schemas.microsoft.com/office/powerpoint/2010/main" val="273277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OF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527050" y="1257754"/>
            <a:ext cx="1060903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OFFEN</a:t>
            </a:r>
          </a:p>
        </p:txBody>
      </p:sp>
    </p:spTree>
    <p:extLst>
      <p:ext uri="{BB962C8B-B14F-4D97-AF65-F5344CB8AC3E}">
        <p14:creationId xmlns:p14="http://schemas.microsoft.com/office/powerpoint/2010/main" val="73394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VS Nf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527050" y="1257754"/>
            <a:ext cx="1060903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VS – NUR FÜR DEN DIENSTGEBRAUCH</a:t>
            </a:r>
          </a:p>
        </p:txBody>
      </p:sp>
    </p:spTree>
    <p:extLst>
      <p:ext uri="{BB962C8B-B14F-4D97-AF65-F5344CB8AC3E}">
        <p14:creationId xmlns:p14="http://schemas.microsoft.com/office/powerpoint/2010/main" val="1006940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527050" y="1257754"/>
            <a:ext cx="1060903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776238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NATO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527050" y="1257754"/>
            <a:ext cx="1060903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NATO RESTRICTED</a:t>
            </a:r>
          </a:p>
        </p:txBody>
      </p:sp>
    </p:spTree>
    <p:extLst>
      <p:ext uri="{BB962C8B-B14F-4D97-AF65-F5344CB8AC3E}">
        <p14:creationId xmlns:p14="http://schemas.microsoft.com/office/powerpoint/2010/main" val="332386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OF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2753" y="21772"/>
            <a:ext cx="11516737" cy="7704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3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FFEN</a:t>
            </a:r>
          </a:p>
        </p:txBody>
      </p:sp>
    </p:spTree>
    <p:extLst>
      <p:ext uri="{BB962C8B-B14F-4D97-AF65-F5344CB8AC3E}">
        <p14:creationId xmlns:p14="http://schemas.microsoft.com/office/powerpoint/2010/main" val="400369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VS Nf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2753" y="21772"/>
            <a:ext cx="11516737" cy="7704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3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4913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2753" y="21772"/>
            <a:ext cx="11516737" cy="7704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3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682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Wappen VS NF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1654200" y="1257754"/>
            <a:ext cx="948188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238" y="1372609"/>
            <a:ext cx="1024898" cy="1224000"/>
          </a:xfrm>
          <a:prstGeom prst="rect">
            <a:avLst/>
          </a:prstGeom>
        </p:spPr>
      </p:pic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VS – NUR FÜR DEN </a:t>
            </a:r>
            <a:r>
              <a:rPr kumimoji="0" lang="de-DE" sz="750" b="1" i="0" u="none" strike="noStrike" kern="1200" cap="all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dIENSTGEBRAUCH</a:t>
            </a:r>
            <a:endParaRPr kumimoji="0" lang="de-DE" sz="75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7210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NATO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2753" y="21772"/>
            <a:ext cx="11516737" cy="7704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300" b="1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9350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CDBw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1052944" y="0"/>
            <a:ext cx="9627701" cy="7717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kumimoji="0" lang="de-DE" sz="2300" b="1" i="0" u="none" strike="noStrike" cap="all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defRPr>
            </a:lvl1pPr>
          </a:lstStyle>
          <a:p>
            <a:pPr lvl="0" defTabSz="685800">
              <a:spcBef>
                <a:spcPts val="0"/>
              </a:spcBef>
              <a:buClr>
                <a:schemeClr val="tx2"/>
              </a:buClr>
              <a:buFont typeface="Wingdings" pitchFamily="2" charset="2"/>
            </a:pPr>
            <a:r>
              <a:rPr kumimoji="0" lang="de-DE" sz="24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Überschrift Folie</a:t>
            </a:r>
            <a:endParaRPr lang="de-DE" sz="2400" cap="all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467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KdoSKB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87338" y="6614984"/>
            <a:ext cx="1440000" cy="2430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0330401" y="6614984"/>
            <a:ext cx="1440000" cy="243016"/>
          </a:xfrm>
          <a:prstGeom prst="rect">
            <a:avLst/>
          </a:prstGeom>
        </p:spPr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39662" y="8610"/>
            <a:ext cx="801151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 anchor="b" anchorCtr="0"/>
          <a:lstStyle>
            <a:lvl1pPr algn="l">
              <a:defRPr sz="23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Klicken Sie, um das Titelformat zu bearbeiten</a:t>
            </a:r>
          </a:p>
        </p:txBody>
      </p:sp>
    </p:spTree>
    <p:extLst>
      <p:ext uri="{BB962C8B-B14F-4D97-AF65-F5344CB8AC3E}">
        <p14:creationId xmlns:p14="http://schemas.microsoft.com/office/powerpoint/2010/main" val="245742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‹Nr.›</a:t>
            </a:fld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EAD8C-438F-2F42-A4FE-9072CD40D8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121" y="0"/>
            <a:ext cx="11425767" cy="8255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 i="0" cap="all" baseline="0">
                <a:solidFill>
                  <a:schemeClr val="bg1"/>
                </a:solidFill>
                <a:latin typeface="Arial Narrow Bold" panose="020B0606020202030204" pitchFamily="34" charset="0"/>
              </a:defRPr>
            </a:lvl1pPr>
          </a:lstStyle>
          <a:p>
            <a:r>
              <a:rPr lang="de-DE" dirty="0"/>
              <a:t>Überschrift – Platz für eine 2-zeilige </a:t>
            </a:r>
            <a:r>
              <a:rPr lang="de-DE" dirty="0" err="1"/>
              <a:t>überschrift</a:t>
            </a:r>
            <a:r>
              <a:rPr lang="de-DE" dirty="0"/>
              <a:t> in 18 Punkt </a:t>
            </a:r>
            <a:r>
              <a:rPr lang="de-DE" dirty="0" err="1"/>
              <a:t>Grösse</a:t>
            </a:r>
            <a:r>
              <a:rPr lang="de-DE" dirty="0"/>
              <a:t> oder eine 1-zeilge Überschrift in 28 Punk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A54758-588F-E94D-9E89-6041CDB62A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825501"/>
            <a:ext cx="12192000" cy="5813424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35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479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Zwischenchart_CDB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/>
        </p:nvSpPr>
        <p:spPr>
          <a:xfrm>
            <a:off x="327093" y="1809750"/>
            <a:ext cx="10910465" cy="15906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435429" y="447911"/>
            <a:ext cx="10515600" cy="811167"/>
          </a:xfrm>
          <a:prstGeom prst="rect">
            <a:avLst/>
          </a:prstGeom>
        </p:spPr>
        <p:txBody>
          <a:bodyPr/>
          <a:lstStyle>
            <a:lvl1pPr algn="ctr">
              <a:defRPr sz="2800" b="1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Datumsplatzhalter 2"/>
          <p:cNvSpPr>
            <a:spLocks noGrp="1"/>
          </p:cNvSpPr>
          <p:nvPr>
            <p:ph type="dt" sz="half" idx="10"/>
          </p:nvPr>
        </p:nvSpPr>
        <p:spPr>
          <a:xfrm>
            <a:off x="287338" y="6618000"/>
            <a:ext cx="1440000" cy="240000"/>
          </a:xfrm>
        </p:spPr>
        <p:txBody>
          <a:bodyPr/>
          <a:lstStyle/>
          <a:p>
            <a:r>
              <a:rPr lang="de-DE" dirty="0"/>
              <a:t>Kommando Streitkräftebasis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0287862" y="6618000"/>
            <a:ext cx="1440000" cy="240000"/>
          </a:xfrm>
        </p:spPr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21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KdoSKB OF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87338" y="6614984"/>
            <a:ext cx="1440000" cy="2430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0330401" y="6614984"/>
            <a:ext cx="1440000" cy="243016"/>
          </a:xfrm>
          <a:prstGeom prst="rect">
            <a:avLst/>
          </a:prstGeom>
        </p:spPr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55801" y="8610"/>
            <a:ext cx="10793691" cy="783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 anchor="b" anchorCtr="0"/>
          <a:lstStyle>
            <a:lvl1pPr algn="l">
              <a:defRPr sz="2300" b="1" cap="all" baseline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Klicken Sie, um das Titelformat zu bearbeiten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FFEN</a:t>
            </a:r>
          </a:p>
        </p:txBody>
      </p:sp>
    </p:spTree>
    <p:extLst>
      <p:ext uri="{BB962C8B-B14F-4D97-AF65-F5344CB8AC3E}">
        <p14:creationId xmlns:p14="http://schemas.microsoft.com/office/powerpoint/2010/main" val="4075457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KdoSKB VS Nf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87338" y="6614984"/>
            <a:ext cx="1440000" cy="2430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0330401" y="6614984"/>
            <a:ext cx="1440000" cy="243016"/>
          </a:xfrm>
          <a:prstGeom prst="rect">
            <a:avLst/>
          </a:prstGeom>
        </p:spPr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Vs – nur für den Dienstgebrauch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55801" y="8610"/>
            <a:ext cx="10793691" cy="783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 anchor="b" anchorCtr="0"/>
          <a:lstStyle>
            <a:lvl1pPr algn="l">
              <a:defRPr sz="2300" b="1" cap="all" baseline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Klicken Sie, um das Titelformat zu bearbeiten</a:t>
            </a:r>
          </a:p>
        </p:txBody>
      </p:sp>
    </p:spTree>
    <p:extLst>
      <p:ext uri="{BB962C8B-B14F-4D97-AF65-F5344CB8AC3E}">
        <p14:creationId xmlns:p14="http://schemas.microsoft.com/office/powerpoint/2010/main" val="2213250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KdoSKB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87338" y="6614984"/>
            <a:ext cx="1440000" cy="2430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0330401" y="6614984"/>
            <a:ext cx="1440000" cy="243016"/>
          </a:xfrm>
          <a:prstGeom prst="rect">
            <a:avLst/>
          </a:prstGeom>
        </p:spPr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RESTRICTED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55801" y="8610"/>
            <a:ext cx="10793691" cy="783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 anchor="b" anchorCtr="0"/>
          <a:lstStyle>
            <a:lvl1pPr algn="l">
              <a:defRPr sz="2300" b="1" cap="all" baseline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Klicken Sie, um das Titelformat zu bearbeiten</a:t>
            </a:r>
          </a:p>
        </p:txBody>
      </p:sp>
    </p:spTree>
    <p:extLst>
      <p:ext uri="{BB962C8B-B14F-4D97-AF65-F5344CB8AC3E}">
        <p14:creationId xmlns:p14="http://schemas.microsoft.com/office/powerpoint/2010/main" val="285326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KdoSKB NATO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87338" y="6614984"/>
            <a:ext cx="1440000" cy="243016"/>
          </a:xfrm>
          <a:prstGeom prst="rect">
            <a:avLst/>
          </a:prstGeom>
        </p:spPr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0330401" y="6614984"/>
            <a:ext cx="1440000" cy="243016"/>
          </a:xfrm>
          <a:prstGeom prst="rect">
            <a:avLst/>
          </a:prstGeom>
        </p:spPr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NATO RESTRICTED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55801" y="8610"/>
            <a:ext cx="10793691" cy="783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 anchor="b" anchorCtr="0"/>
          <a:lstStyle>
            <a:lvl1pPr algn="l">
              <a:defRPr sz="2300" b="1" cap="all" baseline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Klicken Sie, um das Titelformat zu bearbeiten</a:t>
            </a:r>
          </a:p>
        </p:txBody>
      </p:sp>
    </p:spTree>
    <p:extLst>
      <p:ext uri="{BB962C8B-B14F-4D97-AF65-F5344CB8AC3E}">
        <p14:creationId xmlns:p14="http://schemas.microsoft.com/office/powerpoint/2010/main" val="389231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Wappen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1654200" y="1257754"/>
            <a:ext cx="948188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238" y="1372609"/>
            <a:ext cx="1024898" cy="1224000"/>
          </a:xfrm>
          <a:prstGeom prst="rect">
            <a:avLst/>
          </a:prstGeom>
        </p:spPr>
      </p:pic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15074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Wappen NATO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1654200" y="1257754"/>
            <a:ext cx="948188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238" y="1372609"/>
            <a:ext cx="1024898" cy="1224000"/>
          </a:xfrm>
          <a:prstGeom prst="rect">
            <a:avLst/>
          </a:prstGeom>
        </p:spPr>
      </p:pic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NATO RESTRICTED</a:t>
            </a:r>
          </a:p>
        </p:txBody>
      </p:sp>
    </p:spTree>
    <p:extLst>
      <p:ext uri="{BB962C8B-B14F-4D97-AF65-F5344CB8AC3E}">
        <p14:creationId xmlns:p14="http://schemas.microsoft.com/office/powerpoint/2010/main" val="3139506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OF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527050" y="1257754"/>
            <a:ext cx="1060903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32600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VS Nf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527050" y="1257754"/>
            <a:ext cx="1060903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VS – NUR FÜR DEN DIENSTGEBRAUCH</a:t>
            </a:r>
          </a:p>
        </p:txBody>
      </p:sp>
    </p:spTree>
    <p:extLst>
      <p:ext uri="{BB962C8B-B14F-4D97-AF65-F5344CB8AC3E}">
        <p14:creationId xmlns:p14="http://schemas.microsoft.com/office/powerpoint/2010/main" val="192231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527050" y="1257754"/>
            <a:ext cx="1060903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2281446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NATO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527050" y="1257754"/>
            <a:ext cx="1060903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NATO RESTRICTED</a:t>
            </a:r>
          </a:p>
        </p:txBody>
      </p:sp>
    </p:spTree>
    <p:extLst>
      <p:ext uri="{BB962C8B-B14F-4D97-AF65-F5344CB8AC3E}">
        <p14:creationId xmlns:p14="http://schemas.microsoft.com/office/powerpoint/2010/main" val="353269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seite OFFEN Wapp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0001" y="5170962"/>
            <a:ext cx="1631999" cy="119872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354802" y="1074327"/>
            <a:ext cx="10910465" cy="270264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0"/>
          <p:cNvSpPr>
            <a:spLocks noGrp="1"/>
          </p:cNvSpPr>
          <p:nvPr>
            <p:ph type="title" hasCustomPrompt="1"/>
          </p:nvPr>
        </p:nvSpPr>
        <p:spPr>
          <a:xfrm>
            <a:off x="1654200" y="1257754"/>
            <a:ext cx="9481886" cy="1325563"/>
          </a:xfrm>
          <a:prstGeom prst="rect">
            <a:avLst/>
          </a:prstGeom>
        </p:spPr>
        <p:txBody>
          <a:bodyPr/>
          <a:lstStyle>
            <a:lvl1pPr algn="l">
              <a:defRPr sz="3300" b="1" cap="all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dirty="0"/>
              <a:t>MUSTERPRÄSENTATION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27050" y="2703123"/>
            <a:ext cx="10609036" cy="9509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2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238" y="1372609"/>
            <a:ext cx="1024898" cy="1224000"/>
          </a:xfrm>
          <a:prstGeom prst="rect">
            <a:avLst/>
          </a:prstGeom>
        </p:spPr>
      </p:pic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OFFEN</a:t>
            </a:r>
          </a:p>
        </p:txBody>
      </p:sp>
    </p:spTree>
    <p:extLst>
      <p:ext uri="{BB962C8B-B14F-4D97-AF65-F5344CB8AC3E}">
        <p14:creationId xmlns:p14="http://schemas.microsoft.com/office/powerpoint/2010/main" val="998636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2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E532D9D1-B529-E343-BBE9-62E4D07F61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698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02" r:id="rId2"/>
    <p:sldLayoutId id="2147483703" r:id="rId3"/>
    <p:sldLayoutId id="2147483704" r:id="rId4"/>
    <p:sldLayoutId id="2147483686" r:id="rId5"/>
    <p:sldLayoutId id="2147483705" r:id="rId6"/>
    <p:sldLayoutId id="2147483706" r:id="rId7"/>
    <p:sldLayoutId id="2147483707" r:id="rId8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4203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5BB21C0E-B258-C342-9000-E6239B3E04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805218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88662D73-CD98-3F4F-85C8-43C1E8F96E85}"/>
              </a:ext>
            </a:extLst>
          </p:cNvPr>
          <p:cNvSpPr/>
          <p:nvPr userDrawn="1"/>
        </p:nvSpPr>
        <p:spPr>
          <a:xfrm>
            <a:off x="0" y="1"/>
            <a:ext cx="12192000" cy="80521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748B1C6-B46F-324B-89B7-C463650BB960}"/>
              </a:ext>
            </a:extLst>
          </p:cNvPr>
          <p:cNvSpPr/>
          <p:nvPr userDrawn="1"/>
        </p:nvSpPr>
        <p:spPr>
          <a:xfrm>
            <a:off x="0" y="6618000"/>
            <a:ext cx="12192000" cy="240000"/>
          </a:xfrm>
          <a:prstGeom prst="rect">
            <a:avLst/>
          </a:prstGeom>
          <a:solidFill>
            <a:srgbClr val="DB7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287338" y="6618000"/>
            <a:ext cx="1440000" cy="24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50">
                <a:solidFill>
                  <a:schemeClr val="bg1"/>
                </a:solidFill>
              </a:defRPr>
            </a:lvl1pPr>
          </a:lstStyle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87862" y="6618000"/>
            <a:ext cx="1440000" cy="24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50">
                <a:solidFill>
                  <a:schemeClr val="bg1"/>
                </a:solidFill>
              </a:defRPr>
            </a:lvl1pPr>
          </a:lstStyle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 txBox="1">
            <a:spLocks/>
          </p:cNvSpPr>
          <p:nvPr userDrawn="1"/>
        </p:nvSpPr>
        <p:spPr>
          <a:xfrm>
            <a:off x="5203800" y="1692"/>
            <a:ext cx="1800000" cy="161270"/>
          </a:xfrm>
          <a:prstGeom prst="rect">
            <a:avLst/>
          </a:prstGeom>
          <a:solidFill>
            <a:srgbClr val="FFFFFF"/>
          </a:solidFill>
        </p:spPr>
        <p:txBody>
          <a:bodyPr lIns="0" tIns="0" rIns="0" bIns="0" anchor="ctr" anchorCtr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750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FFEN</a:t>
            </a:r>
          </a:p>
        </p:txBody>
      </p:sp>
    </p:spTree>
    <p:extLst>
      <p:ext uri="{BB962C8B-B14F-4D97-AF65-F5344CB8AC3E}">
        <p14:creationId xmlns:p14="http://schemas.microsoft.com/office/powerpoint/2010/main" val="230403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708" r:id="rId2"/>
    <p:sldLayoutId id="2147483709" r:id="rId3"/>
    <p:sldLayoutId id="2147483710" r:id="rId4"/>
    <p:sldLayoutId id="2147483723" r:id="rId5"/>
    <p:sldLayoutId id="2147483725" r:id="rId6"/>
    <p:sldLayoutId id="2147483726" r:id="rId7"/>
    <p:sldLayoutId id="2147483727" r:id="rId8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893" y="166418"/>
            <a:ext cx="473685" cy="565264"/>
          </a:xfrm>
          <a:prstGeom prst="rect">
            <a:avLst/>
          </a:prstGeom>
        </p:spPr>
      </p:pic>
      <p:cxnSp>
        <p:nvCxnSpPr>
          <p:cNvPr id="9" name="Gerade Verbindung 11"/>
          <p:cNvCxnSpPr/>
          <p:nvPr userDrawn="1"/>
        </p:nvCxnSpPr>
        <p:spPr>
          <a:xfrm>
            <a:off x="281891" y="793754"/>
            <a:ext cx="11716520" cy="0"/>
          </a:xfrm>
          <a:prstGeom prst="line">
            <a:avLst/>
          </a:prstGeom>
          <a:ln>
            <a:solidFill>
              <a:srgbClr val="DB77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7748B1C6-B46F-324B-89B7-C463650BB960}"/>
              </a:ext>
            </a:extLst>
          </p:cNvPr>
          <p:cNvSpPr/>
          <p:nvPr userDrawn="1"/>
        </p:nvSpPr>
        <p:spPr>
          <a:xfrm>
            <a:off x="-1" y="6614984"/>
            <a:ext cx="12192001" cy="243016"/>
          </a:xfrm>
          <a:prstGeom prst="rect">
            <a:avLst/>
          </a:prstGeom>
          <a:solidFill>
            <a:srgbClr val="DB7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287338" y="6614984"/>
            <a:ext cx="1440000" cy="24301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6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30401" y="6614984"/>
            <a:ext cx="1440000" cy="24301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5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6547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711" r:id="rId2"/>
    <p:sldLayoutId id="2147483712" r:id="rId3"/>
    <p:sldLayoutId id="2147483713" r:id="rId4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gif"/><Relationship Id="rId2" Type="http://schemas.openxmlformats.org/officeDocument/2006/relationships/image" Target="../media/image56.gif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8.gi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6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70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9.jpeg"/><Relationship Id="rId5" Type="http://schemas.openxmlformats.org/officeDocument/2006/relationships/image" Target="../media/image17.jpeg"/><Relationship Id="rId4" Type="http://schemas.openxmlformats.org/officeDocument/2006/relationships/image" Target="../media/image68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13" Type="http://schemas.openxmlformats.org/officeDocument/2006/relationships/image" Target="../media/image81.jpe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12" Type="http://schemas.openxmlformats.org/officeDocument/2006/relationships/image" Target="../media/image8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Relationship Id="rId14" Type="http://schemas.openxmlformats.org/officeDocument/2006/relationships/image" Target="../media/image8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jpe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95.jpg"/><Relationship Id="rId4" Type="http://schemas.openxmlformats.org/officeDocument/2006/relationships/image" Target="../media/image94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99.jpeg"/><Relationship Id="rId5" Type="http://schemas.openxmlformats.org/officeDocument/2006/relationships/image" Target="../media/image98.jpg"/><Relationship Id="rId4" Type="http://schemas.openxmlformats.org/officeDocument/2006/relationships/image" Target="../media/image97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02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1.jpg"/><Relationship Id="rId5" Type="http://schemas.openxmlformats.org/officeDocument/2006/relationships/image" Target="../media/image100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04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10.jpg"/><Relationship Id="rId5" Type="http://schemas.openxmlformats.org/officeDocument/2006/relationships/image" Target="../media/image109.png"/><Relationship Id="rId4" Type="http://schemas.openxmlformats.org/officeDocument/2006/relationships/image" Target="../media/image10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gif"/><Relationship Id="rId13" Type="http://schemas.openxmlformats.org/officeDocument/2006/relationships/image" Target="../media/image27.png"/><Relationship Id="rId3" Type="http://schemas.openxmlformats.org/officeDocument/2006/relationships/image" Target="../media/image17.jpeg"/><Relationship Id="rId7" Type="http://schemas.openxmlformats.org/officeDocument/2006/relationships/image" Target="../media/image21.gif"/><Relationship Id="rId12" Type="http://schemas.openxmlformats.org/officeDocument/2006/relationships/image" Target="../media/image26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0.png"/><Relationship Id="rId11" Type="http://schemas.openxmlformats.org/officeDocument/2006/relationships/image" Target="../media/image25.gif"/><Relationship Id="rId5" Type="http://schemas.openxmlformats.org/officeDocument/2006/relationships/image" Target="../media/image19.jpeg"/><Relationship Id="rId15" Type="http://schemas.openxmlformats.org/officeDocument/2006/relationships/image" Target="../media/image29.png"/><Relationship Id="rId10" Type="http://schemas.openxmlformats.org/officeDocument/2006/relationships/image" Target="../media/image24.gif"/><Relationship Id="rId4" Type="http://schemas.openxmlformats.org/officeDocument/2006/relationships/image" Target="../media/image18.jpeg"/><Relationship Id="rId9" Type="http://schemas.openxmlformats.org/officeDocument/2006/relationships/image" Target="../media/image23.gif"/><Relationship Id="rId1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jpe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41.jpg"/><Relationship Id="rId4" Type="http://schemas.openxmlformats.org/officeDocument/2006/relationships/image" Target="../media/image40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jpe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3200" dirty="0"/>
              <a:t>„Die Streitkräftebasis 2020“</a:t>
            </a:r>
            <a:br>
              <a:rPr lang="de-DE" sz="3200" dirty="0"/>
            </a:br>
            <a:r>
              <a:rPr lang="de-DE" sz="2400" dirty="0"/>
              <a:t> </a:t>
            </a:r>
            <a:br>
              <a:rPr lang="de-DE" sz="3200" dirty="0"/>
            </a:br>
            <a:r>
              <a:rPr lang="de-DE" sz="2800" i="1" dirty="0"/>
              <a:t>Gesellschaft für Sicherheitspolitik e.V.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Generalleutnant Martin Schelleis </a:t>
            </a:r>
          </a:p>
          <a:p>
            <a:r>
              <a:rPr lang="de-DE" dirty="0"/>
              <a:t>27. Februar 2020</a:t>
            </a:r>
          </a:p>
        </p:txBody>
      </p:sp>
    </p:spTree>
    <p:extLst>
      <p:ext uri="{BB962C8B-B14F-4D97-AF65-F5344CB8AC3E}">
        <p14:creationId xmlns:p14="http://schemas.microsoft.com/office/powerpoint/2010/main" val="157828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 lIns="0" tIns="0" rIns="0" bIns="0" anchor="b" anchorCtr="0"/>
          <a:lstStyle/>
          <a:p>
            <a:r>
              <a:rPr lang="de-DE" dirty="0"/>
              <a:t>Konzeptionelle  Grundlagen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732924" y="6101143"/>
            <a:ext cx="2822261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685800"/>
            <a:r>
              <a:rPr lang="de-DE" sz="1600" b="1" dirty="0">
                <a:solidFill>
                  <a:srgbClr val="000000"/>
                </a:solidFill>
                <a:latin typeface="Arial"/>
              </a:rPr>
              <a:t>Wohin?</a:t>
            </a:r>
          </a:p>
        </p:txBody>
      </p:sp>
      <p:sp>
        <p:nvSpPr>
          <p:cNvPr id="7" name="Rechteck 6"/>
          <p:cNvSpPr/>
          <p:nvPr/>
        </p:nvSpPr>
        <p:spPr>
          <a:xfrm>
            <a:off x="732924" y="2149185"/>
            <a:ext cx="2822261" cy="383152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bIns="135000" rtlCol="0" anchor="b" anchorCtr="0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</a:rPr>
              <a:t>S</a:t>
            </a:r>
            <a:r>
              <a:rPr kumimoji="0" lang="de-DE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tegisch</a:t>
            </a: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politische</a:t>
            </a:r>
            <a:b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rgaben</a:t>
            </a:r>
          </a:p>
        </p:txBody>
      </p:sp>
      <p:sp>
        <p:nvSpPr>
          <p:cNvPr id="8" name="Rechteck 7"/>
          <p:cNvSpPr/>
          <p:nvPr/>
        </p:nvSpPr>
        <p:spPr>
          <a:xfrm>
            <a:off x="732924" y="1147713"/>
            <a:ext cx="2822261" cy="1007951"/>
          </a:xfrm>
          <a:prstGeom prst="rect">
            <a:avLst/>
          </a:prstGeom>
          <a:solidFill>
            <a:srgbClr val="FFFFFF">
              <a:lumMod val="75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ißbuch</a:t>
            </a:r>
            <a:b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Bundesregierung</a:t>
            </a:r>
          </a:p>
        </p:txBody>
      </p:sp>
      <p:sp>
        <p:nvSpPr>
          <p:cNvPr id="9" name="Rechteck 8"/>
          <p:cNvSpPr/>
          <p:nvPr/>
        </p:nvSpPr>
        <p:spPr>
          <a:xfrm>
            <a:off x="4700818" y="1154192"/>
            <a:ext cx="2822261" cy="1007951"/>
          </a:xfrm>
          <a:prstGeom prst="rect">
            <a:avLst/>
          </a:prstGeom>
          <a:solidFill>
            <a:srgbClr val="FFFFFF">
              <a:lumMod val="75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zeption</a:t>
            </a:r>
            <a:b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Bundeswehr</a:t>
            </a:r>
          </a:p>
        </p:txBody>
      </p:sp>
      <p:sp>
        <p:nvSpPr>
          <p:cNvPr id="10" name="Rechteck 9"/>
          <p:cNvSpPr/>
          <p:nvPr/>
        </p:nvSpPr>
        <p:spPr>
          <a:xfrm>
            <a:off x="8641438" y="1148506"/>
            <a:ext cx="2822261" cy="1007951"/>
          </a:xfrm>
          <a:prstGeom prst="rect">
            <a:avLst/>
          </a:prstGeom>
          <a:solidFill>
            <a:srgbClr val="FFFFFF">
              <a:lumMod val="75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ähigkeitsprofil</a:t>
            </a:r>
            <a:b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Bundeswehr</a:t>
            </a:r>
          </a:p>
        </p:txBody>
      </p:sp>
      <p:sp>
        <p:nvSpPr>
          <p:cNvPr id="11" name="Rechteck 10"/>
          <p:cNvSpPr/>
          <p:nvPr/>
        </p:nvSpPr>
        <p:spPr>
          <a:xfrm>
            <a:off x="4700818" y="2155664"/>
            <a:ext cx="2822261" cy="383152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bIns="135000" rtlCol="0" anchor="b" anchorCtr="0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6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</a:rPr>
              <a:t>S</a:t>
            </a:r>
            <a:r>
              <a:rPr kumimoji="0" lang="de-DE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tegisch</a:t>
            </a: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konzeptionelle</a:t>
            </a:r>
            <a:b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rgaben</a:t>
            </a:r>
          </a:p>
        </p:txBody>
      </p:sp>
      <p:sp>
        <p:nvSpPr>
          <p:cNvPr id="12" name="Rechteck 11"/>
          <p:cNvSpPr/>
          <p:nvPr/>
        </p:nvSpPr>
        <p:spPr>
          <a:xfrm>
            <a:off x="8649039" y="2149186"/>
            <a:ext cx="2822261" cy="3831529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bIns="135000" rtlCol="0" anchor="b" anchorCtr="0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600" b="1" kern="0" dirty="0">
              <a:solidFill>
                <a:srgbClr val="000000">
                  <a:lumMod val="85000"/>
                  <a:lumOff val="15000"/>
                </a:srgbClr>
              </a:solidFill>
              <a:latin typeface="Arial"/>
            </a:endParaRP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lungs- und</a:t>
            </a:r>
            <a:b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istungsvermögen</a:t>
            </a:r>
          </a:p>
        </p:txBody>
      </p:sp>
      <p:sp>
        <p:nvSpPr>
          <p:cNvPr id="13" name="Rechteck 12"/>
          <p:cNvSpPr/>
          <p:nvPr/>
        </p:nvSpPr>
        <p:spPr>
          <a:xfrm>
            <a:off x="4700818" y="1154194"/>
            <a:ext cx="2822261" cy="4839480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bIns="513000" rtlCol="0" anchor="b" anchorCtr="0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1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8641438" y="1154194"/>
            <a:ext cx="2822261" cy="483948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bIns="135000" rtlCol="0" anchor="b" anchorCtr="0"/>
          <a:lstStyle/>
          <a:p>
            <a:pPr algn="ctr" defTabSz="685800"/>
            <a:endParaRPr lang="de-DE" sz="1600" b="1" kern="0">
              <a:solidFill>
                <a:srgbClr val="000000">
                  <a:lumMod val="85000"/>
                  <a:lumOff val="15000"/>
                </a:srgbClr>
              </a:solidFill>
              <a:latin typeface="Arial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32924" y="1154194"/>
            <a:ext cx="2822261" cy="4839480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bIns="513000"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1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7694" y="2554287"/>
            <a:ext cx="1612721" cy="2110409"/>
          </a:xfrm>
          <a:prstGeom prst="rect">
            <a:avLst/>
          </a:prstGeom>
          <a:solidFill>
            <a:srgbClr val="FFFFFF">
              <a:shade val="85000"/>
            </a:srgbClr>
          </a:solidFill>
          <a:ln w="9525" cap="sq">
            <a:solidFill>
              <a:srgbClr val="000000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5589" y="2546078"/>
            <a:ext cx="1612721" cy="2136263"/>
          </a:xfrm>
          <a:prstGeom prst="rect">
            <a:avLst/>
          </a:prstGeom>
          <a:solidFill>
            <a:srgbClr val="FFFFFF">
              <a:shade val="85000"/>
            </a:srgbClr>
          </a:solidFill>
          <a:ln w="9525" cap="sq">
            <a:solidFill>
              <a:srgbClr val="000000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6209" y="2555516"/>
            <a:ext cx="1612721" cy="2126826"/>
          </a:xfrm>
          <a:prstGeom prst="rect">
            <a:avLst/>
          </a:prstGeom>
          <a:solidFill>
            <a:srgbClr val="FFFFFF">
              <a:shade val="85000"/>
            </a:srgbClr>
          </a:solidFill>
          <a:ln w="9525" cap="sq">
            <a:solidFill>
              <a:srgbClr val="000000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Textfeld 18"/>
          <p:cNvSpPr txBox="1"/>
          <p:nvPr/>
        </p:nvSpPr>
        <p:spPr>
          <a:xfrm>
            <a:off x="4700818" y="6093773"/>
            <a:ext cx="2822261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685800"/>
            <a:r>
              <a:rPr lang="de-DE" sz="1600" b="1" dirty="0">
                <a:solidFill>
                  <a:srgbClr val="000000"/>
                </a:solidFill>
                <a:latin typeface="Arial"/>
              </a:rPr>
              <a:t>Wie?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8649039" y="6086402"/>
            <a:ext cx="2822261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defTabSz="685800"/>
            <a:r>
              <a:rPr lang="de-DE" sz="1600" b="1" dirty="0">
                <a:solidFill>
                  <a:srgbClr val="000000"/>
                </a:solidFill>
                <a:latin typeface="Arial"/>
              </a:rPr>
              <a:t>Womit?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1784825" y="4814874"/>
            <a:ext cx="7184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</a:rPr>
              <a:t>2016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5741892" y="4814874"/>
            <a:ext cx="7184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</a:rPr>
              <a:t>2018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9580993" y="4814874"/>
            <a:ext cx="9583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"/>
              </a:rPr>
              <a:t>2018/20</a:t>
            </a:r>
          </a:p>
        </p:txBody>
      </p:sp>
      <p:sp>
        <p:nvSpPr>
          <p:cNvPr id="23" name="Rechteck 22"/>
          <p:cNvSpPr/>
          <p:nvPr/>
        </p:nvSpPr>
        <p:spPr>
          <a:xfrm>
            <a:off x="8641438" y="1154194"/>
            <a:ext cx="2822261" cy="4839480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bIns="51300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1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36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lussdiagramm: Manuelle Eingabe 33"/>
          <p:cNvSpPr/>
          <p:nvPr/>
        </p:nvSpPr>
        <p:spPr>
          <a:xfrm>
            <a:off x="341600" y="4586900"/>
            <a:ext cx="11517889" cy="196582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44 w 10000"/>
              <a:gd name="connsiteY0" fmla="*/ 584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44 w 10000"/>
              <a:gd name="connsiteY4" fmla="*/ 5846 h 10000"/>
              <a:gd name="connsiteX0" fmla="*/ 44 w 10000"/>
              <a:gd name="connsiteY0" fmla="*/ 5846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44 w 10000"/>
              <a:gd name="connsiteY4" fmla="*/ 5846 h 10000"/>
              <a:gd name="connsiteX0" fmla="*/ 14 w 10000"/>
              <a:gd name="connsiteY0" fmla="*/ 6104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14 w 10000"/>
              <a:gd name="connsiteY4" fmla="*/ 6104 h 10000"/>
              <a:gd name="connsiteX0" fmla="*/ 4 w 10001"/>
              <a:gd name="connsiteY0" fmla="*/ 7331 h 10000"/>
              <a:gd name="connsiteX1" fmla="*/ 10001 w 10001"/>
              <a:gd name="connsiteY1" fmla="*/ 0 h 10000"/>
              <a:gd name="connsiteX2" fmla="*/ 10001 w 10001"/>
              <a:gd name="connsiteY2" fmla="*/ 10000 h 10000"/>
              <a:gd name="connsiteX3" fmla="*/ 1 w 10001"/>
              <a:gd name="connsiteY3" fmla="*/ 10000 h 10000"/>
              <a:gd name="connsiteX4" fmla="*/ 4 w 10001"/>
              <a:gd name="connsiteY4" fmla="*/ 733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1" h="10000">
                <a:moveTo>
                  <a:pt x="4" y="7331"/>
                </a:moveTo>
                <a:lnTo>
                  <a:pt x="10001" y="0"/>
                </a:lnTo>
                <a:lnTo>
                  <a:pt x="10001" y="10000"/>
                </a:lnTo>
                <a:lnTo>
                  <a:pt x="1" y="10000"/>
                </a:lnTo>
                <a:cubicBezTo>
                  <a:pt x="16" y="8615"/>
                  <a:pt x="-11" y="8716"/>
                  <a:pt x="4" y="7331"/>
                </a:cubicBezTo>
                <a:close/>
              </a:path>
            </a:pathLst>
          </a:custGeom>
          <a:solidFill>
            <a:srgbClr val="D3D3D3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 anchor="b" anchorCtr="0">
            <a:noAutofit/>
          </a:bodyPr>
          <a:lstStyle/>
          <a:p>
            <a:pPr>
              <a:buClr>
                <a:schemeClr val="tx2"/>
              </a:buClr>
              <a:buFont typeface="Wingdings" pitchFamily="2" charset="2"/>
            </a:pPr>
            <a:r>
              <a:rPr lang="de-DE" dirty="0">
                <a:solidFill>
                  <a:schemeClr val="bg1"/>
                </a:solidFill>
              </a:rPr>
              <a:t>Fähigkeitsprofil der Bundeswehr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Nationale Ambitio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Streitkräftebasis</a:t>
            </a:r>
          </a:p>
        </p:txBody>
      </p:sp>
      <p:sp>
        <p:nvSpPr>
          <p:cNvPr id="6" name="Rechteck 5"/>
          <p:cNvSpPr/>
          <p:nvPr/>
        </p:nvSpPr>
        <p:spPr>
          <a:xfrm>
            <a:off x="546761" y="1139859"/>
            <a:ext cx="1834332" cy="2103254"/>
          </a:xfrm>
          <a:prstGeom prst="rect">
            <a:avLst/>
          </a:prstGeom>
          <a:solidFill>
            <a:srgbClr val="FFFFFF">
              <a:lumMod val="75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e Vorgaben</a:t>
            </a:r>
          </a:p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e Krisenvorsorge etc.</a:t>
            </a:r>
          </a:p>
        </p:txBody>
      </p:sp>
      <p:sp>
        <p:nvSpPr>
          <p:cNvPr id="7" name="Rechteck 6"/>
          <p:cNvSpPr/>
          <p:nvPr/>
        </p:nvSpPr>
        <p:spPr>
          <a:xfrm>
            <a:off x="2667595" y="1139859"/>
            <a:ext cx="2103257" cy="2103254"/>
          </a:xfrm>
          <a:prstGeom prst="rect">
            <a:avLst/>
          </a:prstGeom>
          <a:solidFill>
            <a:srgbClr val="FFFFFF">
              <a:lumMod val="75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nationale Vorgaben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2998430" y="1761415"/>
            <a:ext cx="1497237" cy="1448544"/>
            <a:chOff x="3852000" y="2853463"/>
            <a:chExt cx="1537631" cy="1487625"/>
          </a:xfrm>
        </p:grpSpPr>
        <p:sp>
          <p:nvSpPr>
            <p:cNvPr id="9" name="Kreis 8"/>
            <p:cNvSpPr/>
            <p:nvPr/>
          </p:nvSpPr>
          <p:spPr>
            <a:xfrm rot="3000000">
              <a:off x="3852000" y="2853463"/>
              <a:ext cx="1440000" cy="1440000"/>
            </a:xfrm>
            <a:prstGeom prst="pie">
              <a:avLst>
                <a:gd name="adj1" fmla="val 0"/>
                <a:gd name="adj2" fmla="val 18579059"/>
              </a:avLst>
            </a:prstGeom>
            <a:solidFill>
              <a:srgbClr val="6699FF"/>
            </a:solidFill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Kreis 9"/>
            <p:cNvSpPr/>
            <p:nvPr/>
          </p:nvSpPr>
          <p:spPr>
            <a:xfrm rot="3000000">
              <a:off x="3949631" y="2901088"/>
              <a:ext cx="1440000" cy="1440000"/>
            </a:xfrm>
            <a:prstGeom prst="pie">
              <a:avLst>
                <a:gd name="adj1" fmla="val 18595654"/>
                <a:gd name="adj2" fmla="val 21588373"/>
              </a:avLst>
            </a:prstGeom>
            <a:solidFill>
              <a:srgbClr val="647B8A">
                <a:lumMod val="20000"/>
                <a:lumOff val="80000"/>
              </a:srgbClr>
            </a:solidFill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0553" y="2649601"/>
            <a:ext cx="413141" cy="262907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6330" y="1983968"/>
            <a:ext cx="408403" cy="262907"/>
          </a:xfrm>
          <a:prstGeom prst="rect">
            <a:avLst/>
          </a:prstGeom>
          <a:ln>
            <a:solidFill>
              <a:srgbClr val="000000"/>
            </a:solidFill>
          </a:ln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3070" y="2518148"/>
            <a:ext cx="413141" cy="262907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15" name="Rechteck 14"/>
          <p:cNvSpPr/>
          <p:nvPr/>
        </p:nvSpPr>
        <p:spPr>
          <a:xfrm>
            <a:off x="9839728" y="4384083"/>
            <a:ext cx="1051629" cy="2103254"/>
          </a:xfrm>
          <a:prstGeom prst="rect">
            <a:avLst/>
          </a:prstGeom>
          <a:solidFill>
            <a:srgbClr val="004471">
              <a:lumMod val="75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4062269" y="5102621"/>
            <a:ext cx="1051629" cy="1402170"/>
          </a:xfrm>
          <a:prstGeom prst="rect">
            <a:avLst/>
          </a:prstGeom>
          <a:solidFill>
            <a:srgbClr val="004471">
              <a:lumMod val="75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1125421" y="5435710"/>
            <a:ext cx="1051629" cy="1051627"/>
          </a:xfrm>
          <a:prstGeom prst="rect">
            <a:avLst/>
          </a:prstGeom>
          <a:solidFill>
            <a:srgbClr val="004471">
              <a:lumMod val="75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7018201" y="4749081"/>
            <a:ext cx="1051629" cy="1752712"/>
          </a:xfrm>
          <a:prstGeom prst="rect">
            <a:avLst/>
          </a:prstGeom>
          <a:solidFill>
            <a:srgbClr val="004471">
              <a:lumMod val="75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Abgerundetes Rechteck 20"/>
          <p:cNvSpPr/>
          <p:nvPr/>
        </p:nvSpPr>
        <p:spPr>
          <a:xfrm>
            <a:off x="1055313" y="3455002"/>
            <a:ext cx="1191846" cy="911410"/>
          </a:xfrm>
          <a:prstGeom prst="roundRect">
            <a:avLst/>
          </a:prstGeom>
          <a:solidFill>
            <a:srgbClr val="0070C0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ischen- schritt 1 (bis 2023)</a:t>
            </a:r>
          </a:p>
        </p:txBody>
      </p:sp>
      <p:sp>
        <p:nvSpPr>
          <p:cNvPr id="22" name="Abgerundetes Rechteck 21"/>
          <p:cNvSpPr/>
          <p:nvPr/>
        </p:nvSpPr>
        <p:spPr>
          <a:xfrm>
            <a:off x="3987783" y="3455002"/>
            <a:ext cx="1191846" cy="911410"/>
          </a:xfrm>
          <a:prstGeom prst="roundRect">
            <a:avLst/>
          </a:prstGeom>
          <a:solidFill>
            <a:srgbClr val="0070C0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ischen- schritt 2 (bis 2027)</a:t>
            </a:r>
          </a:p>
        </p:txBody>
      </p:sp>
      <p:sp>
        <p:nvSpPr>
          <p:cNvPr id="23" name="Abgerundetes Rechteck 22"/>
          <p:cNvSpPr/>
          <p:nvPr/>
        </p:nvSpPr>
        <p:spPr>
          <a:xfrm>
            <a:off x="6944237" y="3449114"/>
            <a:ext cx="1191846" cy="911410"/>
          </a:xfrm>
          <a:prstGeom prst="roundRect">
            <a:avLst/>
          </a:prstGeom>
          <a:solidFill>
            <a:srgbClr val="0070C0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ischen- schritt 3 (bis 2031)</a:t>
            </a:r>
          </a:p>
        </p:txBody>
      </p:sp>
      <p:sp>
        <p:nvSpPr>
          <p:cNvPr id="24" name="Abgerundetes Rechteck 23"/>
          <p:cNvSpPr/>
          <p:nvPr/>
        </p:nvSpPr>
        <p:spPr>
          <a:xfrm>
            <a:off x="9769619" y="3427282"/>
            <a:ext cx="1191846" cy="911410"/>
          </a:xfrm>
          <a:prstGeom prst="roundRect">
            <a:avLst/>
          </a:prstGeom>
          <a:solidFill>
            <a:srgbClr val="0070C0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ielbild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32</a:t>
            </a:r>
          </a:p>
        </p:txBody>
      </p:sp>
      <p:sp>
        <p:nvSpPr>
          <p:cNvPr id="25" name="Abgerundetes Rechteck 24"/>
          <p:cNvSpPr/>
          <p:nvPr/>
        </p:nvSpPr>
        <p:spPr>
          <a:xfrm>
            <a:off x="4118017" y="5695520"/>
            <a:ext cx="1325488" cy="791817"/>
          </a:xfrm>
          <a:prstGeom prst="roundRect">
            <a:avLst/>
          </a:prstGeom>
          <a:solidFill>
            <a:srgbClr val="FFFFFF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" marR="0" lvl="0" indent="-540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nd (1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v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54000" marR="0" lvl="0" indent="-540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uft (1 ATF)</a:t>
            </a:r>
          </a:p>
          <a:p>
            <a:pPr marL="54000" marR="0" lvl="0" indent="-540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e</a:t>
            </a:r>
          </a:p>
        </p:txBody>
      </p:sp>
      <p:sp>
        <p:nvSpPr>
          <p:cNvPr id="26" name="Abgerundetes Rechteck 25"/>
          <p:cNvSpPr/>
          <p:nvPr/>
        </p:nvSpPr>
        <p:spPr>
          <a:xfrm>
            <a:off x="7076200" y="5684843"/>
            <a:ext cx="1323237" cy="802638"/>
          </a:xfrm>
          <a:prstGeom prst="roundRect">
            <a:avLst/>
          </a:prstGeom>
          <a:solidFill>
            <a:srgbClr val="FFFFFF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" marR="0" lvl="0" indent="-540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nd (3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v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54000" marR="0" lvl="0" indent="-540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uft (4 ATF)</a:t>
            </a:r>
          </a:p>
          <a:p>
            <a:pPr marL="54000" marR="0" lvl="0" indent="-540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e</a:t>
            </a:r>
          </a:p>
        </p:txBody>
      </p:sp>
      <p:sp>
        <p:nvSpPr>
          <p:cNvPr id="27" name="Abgerundetes Rechteck 26"/>
          <p:cNvSpPr/>
          <p:nvPr/>
        </p:nvSpPr>
        <p:spPr>
          <a:xfrm>
            <a:off x="9889338" y="5663011"/>
            <a:ext cx="1262950" cy="792438"/>
          </a:xfrm>
          <a:prstGeom prst="roundRect">
            <a:avLst/>
          </a:prstGeom>
          <a:solidFill>
            <a:srgbClr val="FFFFFF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" marR="0" lvl="0" indent="-540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e Ambition und LV/BV</a:t>
            </a:r>
          </a:p>
        </p:txBody>
      </p:sp>
      <p:sp>
        <p:nvSpPr>
          <p:cNvPr id="28" name="Abgerundetes Rechteck 27"/>
          <p:cNvSpPr/>
          <p:nvPr/>
        </p:nvSpPr>
        <p:spPr>
          <a:xfrm>
            <a:off x="1176078" y="5779920"/>
            <a:ext cx="1256912" cy="702521"/>
          </a:xfrm>
          <a:prstGeom prst="roundRect">
            <a:avLst/>
          </a:prstGeom>
          <a:solidFill>
            <a:srgbClr val="FFFFFF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" marR="0" lvl="0" indent="-540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JTF 2023</a:t>
            </a:r>
          </a:p>
          <a:p>
            <a:pPr marL="54000" marR="0" lvl="0" indent="-540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sätze</a:t>
            </a:r>
          </a:p>
          <a:p>
            <a:pPr marL="54000" marR="0" lvl="0" indent="-5400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FP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EUBG</a:t>
            </a:r>
          </a:p>
        </p:txBody>
      </p:sp>
      <p:sp>
        <p:nvSpPr>
          <p:cNvPr id="30" name="Rechteck 29"/>
          <p:cNvSpPr/>
          <p:nvPr/>
        </p:nvSpPr>
        <p:spPr>
          <a:xfrm>
            <a:off x="4877360" y="1139858"/>
            <a:ext cx="7314639" cy="1051627"/>
          </a:xfrm>
          <a:prstGeom prst="rect">
            <a:avLst/>
          </a:prstGeom>
          <a:solidFill>
            <a:srgbClr val="FFFFFF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nelles Erreichen von gemeinsamen Qualitätsstandards bei gleichzeitig organischem Wachstum</a:t>
            </a: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8069830" y="2330548"/>
            <a:ext cx="2675868" cy="1520197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ndes- und Bündnis-verteidigung (LV/BV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cxnSp>
        <p:nvCxnSpPr>
          <p:cNvPr id="32" name="Gerader Verbinder 31"/>
          <p:cNvCxnSpPr/>
          <p:nvPr/>
        </p:nvCxnSpPr>
        <p:spPr>
          <a:xfrm flipV="1">
            <a:off x="8779759" y="2969996"/>
            <a:ext cx="491241" cy="2326654"/>
          </a:xfrm>
          <a:prstGeom prst="line">
            <a:avLst/>
          </a:prstGeom>
          <a:solidFill>
            <a:srgbClr val="FFFFFF">
              <a:lumMod val="75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48945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ilensteine Streitkräftebasis</a:t>
            </a:r>
            <a:endParaRPr lang="de-DE" dirty="0">
              <a:solidFill>
                <a:srgbClr val="0000FF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42754" y="1319212"/>
            <a:ext cx="11520000" cy="1620000"/>
          </a:xfrm>
          <a:prstGeom prst="rect">
            <a:avLst/>
          </a:prstGeom>
          <a:solidFill>
            <a:srgbClr val="EAEAEA"/>
          </a:solidFill>
          <a:ln w="9398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144000" rIns="90000" bIns="46800"/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Pct val="100000"/>
            </a:pPr>
            <a:r>
              <a:rPr lang="de-DE" altLang="de-DE" sz="1600" dirty="0">
                <a:ea typeface="Arial Unicode MS" pitchFamily="34" charset="-128"/>
                <a:cs typeface="Arial Unicode MS" pitchFamily="34" charset="-128"/>
              </a:rPr>
              <a:t>2019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6542178" y="1470665"/>
            <a:ext cx="5185683" cy="1250559"/>
          </a:xfrm>
          <a:prstGeom prst="rect">
            <a:avLst/>
          </a:prstGeom>
          <a:solidFill>
            <a:schemeClr val="bg1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>
            <a:lvl1pPr marL="290513" indent="-290513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Landesregiment Bayern (01.04. Modellerprobung) 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PESCO: Joint </a:t>
            </a:r>
            <a:r>
              <a:rPr lang="de-DE" altLang="de-DE" sz="1400" dirty="0" err="1"/>
              <a:t>Coordination</a:t>
            </a:r>
            <a:r>
              <a:rPr lang="de-DE" altLang="de-DE" sz="1400" dirty="0"/>
              <a:t> Center WHV (01.10.)</a:t>
            </a:r>
          </a:p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IOC Multinational CIMIC Command (01.10.)</a:t>
            </a: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1141411" y="909489"/>
            <a:ext cx="5040000" cy="360000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>
            <a:lvl1pPr marL="290513" indent="-290513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 eaLnBrk="1" hangingPunct="1">
              <a:buSzPct val="100000"/>
            </a:pPr>
            <a:r>
              <a:rPr lang="de-DE" altLang="de-DE" sz="2000" dirty="0">
                <a:solidFill>
                  <a:srgbClr val="000000"/>
                </a:solidFill>
              </a:rPr>
              <a:t>Mit Anschubfinanzierung</a:t>
            </a: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6542178" y="906463"/>
            <a:ext cx="5185681" cy="360000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 defTabSz="449263">
              <a:buSzPct val="100000"/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</a:pPr>
            <a:r>
              <a:rPr lang="de-DE" altLang="de-DE" sz="2000" b="1" dirty="0">
                <a:solidFill>
                  <a:srgbClr val="000000"/>
                </a:solidFill>
                <a:latin typeface="Arial" charset="0"/>
              </a:rPr>
              <a:t>Aus eigener Kraft</a:t>
            </a: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342753" y="3097459"/>
            <a:ext cx="11520000" cy="1620000"/>
          </a:xfrm>
          <a:prstGeom prst="rect">
            <a:avLst/>
          </a:prstGeom>
          <a:solidFill>
            <a:srgbClr val="EAEAEA"/>
          </a:solidFill>
          <a:ln w="9398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144000" rIns="90000" bIns="46800"/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Pct val="100000"/>
            </a:pPr>
            <a:r>
              <a:rPr lang="de-DE" altLang="de-DE" sz="1600" dirty="0">
                <a:ea typeface="Arial Unicode MS" pitchFamily="34" charset="-128"/>
                <a:cs typeface="Arial Unicode MS" pitchFamily="34" charset="-128"/>
              </a:rPr>
              <a:t>2020</a:t>
            </a: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6542178" y="3248912"/>
            <a:ext cx="5185684" cy="1250559"/>
          </a:xfrm>
          <a:prstGeom prst="rect">
            <a:avLst/>
          </a:prstGeom>
          <a:solidFill>
            <a:schemeClr val="bg1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>
            <a:lvl1pPr marL="290513" indent="-290513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IOC Landeskommando Berlin (01.04., </a:t>
            </a:r>
            <a:r>
              <a:rPr lang="de-DE" altLang="de-DE" sz="1400" dirty="0" err="1"/>
              <a:t>tbd</a:t>
            </a:r>
            <a:r>
              <a:rPr lang="de-DE" altLang="de-DE" sz="1400" dirty="0"/>
              <a:t>)</a:t>
            </a:r>
          </a:p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Aufbaustab Logistik-Regiment (01.10.)</a:t>
            </a:r>
          </a:p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Aufbaustab </a:t>
            </a:r>
            <a:r>
              <a:rPr lang="de-DE" altLang="de-DE" sz="1400" dirty="0" err="1"/>
              <a:t>ABC-Abwehr</a:t>
            </a:r>
            <a:r>
              <a:rPr lang="de-DE" altLang="de-DE" sz="1400" dirty="0"/>
              <a:t>-Regiment Strausberg (01.10.) </a:t>
            </a:r>
          </a:p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PESCO: IOC DEU </a:t>
            </a:r>
            <a:r>
              <a:rPr lang="de-DE" altLang="de-DE" sz="1400" dirty="0" err="1"/>
              <a:t>LogHub</a:t>
            </a:r>
            <a:r>
              <a:rPr lang="de-DE" altLang="de-DE" sz="1400" dirty="0"/>
              <a:t> Pfungstadt (31.12.)</a:t>
            </a:r>
          </a:p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IOC operative Führung </a:t>
            </a:r>
            <a:r>
              <a:rPr lang="de-DE" altLang="de-DE" sz="1400" dirty="0" err="1"/>
              <a:t>KdoSKB</a:t>
            </a:r>
            <a:r>
              <a:rPr lang="de-DE" altLang="de-DE" sz="1400" dirty="0"/>
              <a:t> (01.10.)</a:t>
            </a: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auto">
          <a:xfrm>
            <a:off x="342753" y="4868912"/>
            <a:ext cx="11520000" cy="1620000"/>
          </a:xfrm>
          <a:prstGeom prst="rect">
            <a:avLst/>
          </a:prstGeom>
          <a:solidFill>
            <a:srgbClr val="EAEAEA"/>
          </a:solidFill>
          <a:ln w="9398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144000" rIns="90000" bIns="46800"/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SzPct val="100000"/>
            </a:pPr>
            <a:r>
              <a:rPr lang="de-DE" altLang="de-DE" sz="1600" dirty="0">
                <a:ea typeface="Arial Unicode MS" pitchFamily="34" charset="-128"/>
                <a:cs typeface="Arial Unicode MS" pitchFamily="34" charset="-128"/>
              </a:rPr>
              <a:t>2021</a:t>
            </a: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6542177" y="5020365"/>
            <a:ext cx="5185683" cy="1250559"/>
          </a:xfrm>
          <a:prstGeom prst="rect">
            <a:avLst/>
          </a:prstGeom>
          <a:solidFill>
            <a:schemeClr val="bg1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>
            <a:lvl1pPr marL="290513" indent="-290513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IOC Logistik-Regiment (01.04.)</a:t>
            </a:r>
          </a:p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IOC Multinational CBRN DEFCOM (01.04.)</a:t>
            </a:r>
          </a:p>
        </p:txBody>
      </p:sp>
      <p:sp>
        <p:nvSpPr>
          <p:cNvPr id="18" name="Rectangle 5"/>
          <p:cNvSpPr>
            <a:spLocks noChangeArrowheads="1"/>
          </p:cNvSpPr>
          <p:nvPr/>
        </p:nvSpPr>
        <p:spPr bwMode="auto">
          <a:xfrm>
            <a:off x="1141411" y="3252837"/>
            <a:ext cx="5040000" cy="1250559"/>
          </a:xfrm>
          <a:prstGeom prst="rect">
            <a:avLst/>
          </a:prstGeom>
          <a:solidFill>
            <a:schemeClr val="bg1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>
            <a:lvl1pPr marL="290513" indent="-290513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>
                <a:solidFill>
                  <a:srgbClr val="000000"/>
                </a:solidFill>
              </a:rPr>
              <a:t>Aufstellungsbeginn RSOM-Bataillon (01.10.)</a:t>
            </a:r>
          </a:p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endParaRPr lang="de-DE" altLang="de-DE" sz="1400" dirty="0">
              <a:solidFill>
                <a:srgbClr val="000000"/>
              </a:solidFill>
            </a:endParaRPr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auto">
          <a:xfrm>
            <a:off x="1141411" y="5020364"/>
            <a:ext cx="5040000" cy="1250559"/>
          </a:xfrm>
          <a:prstGeom prst="rect">
            <a:avLst/>
          </a:prstGeom>
          <a:solidFill>
            <a:schemeClr val="bg1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>
            <a:lvl1pPr marL="290513" indent="-290513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IOC RSOM-Bataillon (01.04.)</a:t>
            </a:r>
          </a:p>
          <a:p>
            <a:pPr marL="285750" indent="-285750" eaLnBrk="1" hangingPunct="1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Beginn Wiederinbetriebnahme </a:t>
            </a:r>
            <a:r>
              <a:rPr lang="de-DE" altLang="de-DE" sz="1400" dirty="0" err="1"/>
              <a:t>oLE</a:t>
            </a:r>
            <a:br>
              <a:rPr lang="de-DE" altLang="de-DE" sz="1400" dirty="0"/>
            </a:br>
            <a:r>
              <a:rPr lang="de-DE" altLang="de-DE" sz="1400" dirty="0"/>
              <a:t>Königswinter und </a:t>
            </a:r>
            <a:r>
              <a:rPr lang="de-DE" altLang="de-DE" sz="1400" dirty="0" err="1"/>
              <a:t>Lorup</a:t>
            </a:r>
            <a:r>
              <a:rPr lang="de-DE" altLang="de-DE" sz="1400" dirty="0"/>
              <a:t> (01.04.)</a:t>
            </a:r>
          </a:p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FOC JSEC (01.10.)</a:t>
            </a:r>
          </a:p>
          <a:p>
            <a:pPr marL="0" indent="0" eaLnBrk="1" hangingPunct="1">
              <a:buSzPct val="100000"/>
            </a:pPr>
            <a:endParaRPr lang="de-DE" altLang="de-DE" sz="1400" dirty="0"/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auto">
          <a:xfrm>
            <a:off x="1141411" y="1470664"/>
            <a:ext cx="5040000" cy="1250559"/>
          </a:xfrm>
          <a:prstGeom prst="rect">
            <a:avLst/>
          </a:prstGeom>
          <a:solidFill>
            <a:schemeClr val="bg1"/>
          </a:solidFill>
          <a:ln w="936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90000" tIns="46800" rIns="90000" bIns="46800" anchor="ctr"/>
          <a:lstStyle>
            <a:lvl1pPr marL="290513" indent="-290513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1pPr>
            <a:lvl2pPr marL="742950" indent="-28575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49263"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292100" algn="l"/>
                <a:tab pos="1206500" algn="l"/>
                <a:tab pos="2120900" algn="l"/>
                <a:tab pos="3035300" algn="l"/>
                <a:tab pos="3949700" algn="l"/>
                <a:tab pos="4864100" algn="l"/>
                <a:tab pos="5778500" algn="l"/>
                <a:tab pos="6692900" algn="l"/>
                <a:tab pos="7607300" algn="l"/>
                <a:tab pos="8521700" algn="l"/>
                <a:tab pos="9436100" algn="l"/>
                <a:tab pos="10350500" algn="l"/>
              </a:tabLst>
              <a:defRPr sz="1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de-DE" altLang="de-DE" sz="1400" dirty="0"/>
              <a:t>IOC JSEC (17.09.)</a:t>
            </a:r>
          </a:p>
        </p:txBody>
      </p:sp>
      <p:cxnSp>
        <p:nvCxnSpPr>
          <p:cNvPr id="8" name="Gerader Verbinder 7"/>
          <p:cNvCxnSpPr/>
          <p:nvPr/>
        </p:nvCxnSpPr>
        <p:spPr>
          <a:xfrm flipH="1">
            <a:off x="6390640" y="792172"/>
            <a:ext cx="16644" cy="569674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Datumsplatzhalter 1"/>
          <p:cNvSpPr>
            <a:spLocks noGrp="1"/>
          </p:cNvSpPr>
          <p:nvPr>
            <p:ph type="dt" sz="half" idx="10"/>
          </p:nvPr>
        </p:nvSpPr>
        <p:spPr>
          <a:xfrm>
            <a:off x="287338" y="6618000"/>
            <a:ext cx="1440000" cy="24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itkräftebasis</a:t>
            </a:r>
          </a:p>
        </p:txBody>
      </p:sp>
    </p:spTree>
    <p:extLst>
      <p:ext uri="{BB962C8B-B14F-4D97-AF65-F5344CB8AC3E}">
        <p14:creationId xmlns:p14="http://schemas.microsoft.com/office/powerpoint/2010/main" val="3445466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2221" y="-14566"/>
            <a:ext cx="10515600" cy="811167"/>
          </a:xfrm>
        </p:spPr>
        <p:txBody>
          <a:bodyPr vert="horz" lIns="0" tIns="0" rIns="0" bIns="0" rtlCol="0" anchor="b" anchorCtr="0">
            <a:noAutofit/>
          </a:bodyPr>
          <a:lstStyle/>
          <a:p>
            <a:pPr algn="l" defTabSz="685800">
              <a:spcBef>
                <a:spcPts val="0"/>
              </a:spcBef>
              <a:buClr>
                <a:schemeClr val="tx2"/>
              </a:buClr>
              <a:buFont typeface="Wingdings" pitchFamily="2" charset="2"/>
            </a:pPr>
            <a:r>
              <a:rPr lang="de-DE" cap="all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Balance Wirkung / Unterstützung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8303989" y="1121509"/>
            <a:ext cx="2390398" cy="646331"/>
          </a:xfrm>
          <a:prstGeom prst="rect">
            <a:avLst/>
          </a:prstGeom>
          <a:noFill/>
          <a:effectLst/>
        </p:spPr>
        <p:txBody>
          <a:bodyPr wrap="none" rtlCol="0" anchor="t" anchorCtr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ternationales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Krisenmanagement 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1727338" y="1119988"/>
            <a:ext cx="1773241" cy="1107996"/>
          </a:xfrm>
          <a:prstGeom prst="rect">
            <a:avLst/>
          </a:prstGeom>
          <a:noFill/>
          <a:effectLst/>
        </p:spPr>
        <p:txBody>
          <a:bodyPr wrap="none" rtlCol="0" anchor="t" anchorCtr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Landes-/ 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ündnis-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Verteidigung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strukturbestimmend)</a:t>
            </a:r>
          </a:p>
        </p:txBody>
      </p:sp>
      <p:sp>
        <p:nvSpPr>
          <p:cNvPr id="8" name="Ellipse 7"/>
          <p:cNvSpPr/>
          <p:nvPr/>
        </p:nvSpPr>
        <p:spPr>
          <a:xfrm>
            <a:off x="3200161" y="3093585"/>
            <a:ext cx="1143000" cy="257175"/>
          </a:xfrm>
          <a:prstGeom prst="ellipse">
            <a:avLst/>
          </a:prstGeom>
          <a:solidFill>
            <a:srgbClr val="D9D9D9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" name="Gerade Verbindung 38"/>
          <p:cNvCxnSpPr>
            <a:stCxn id="8" idx="2"/>
          </p:cNvCxnSpPr>
          <p:nvPr/>
        </p:nvCxnSpPr>
        <p:spPr>
          <a:xfrm flipV="1">
            <a:off x="3200161" y="2255385"/>
            <a:ext cx="571500" cy="966788"/>
          </a:xfrm>
          <a:prstGeom prst="line">
            <a:avLst/>
          </a:prstGeom>
          <a:gradFill rotWithShape="1">
            <a:gsLst>
              <a:gs pos="0">
                <a:srgbClr val="D16349">
                  <a:tint val="100000"/>
                  <a:shade val="100000"/>
                  <a:satMod val="130000"/>
                </a:srgbClr>
              </a:gs>
              <a:gs pos="100000">
                <a:srgbClr val="D16349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cxnSp>
        <p:nvCxnSpPr>
          <p:cNvPr id="10" name="Gerade Verbindung 39"/>
          <p:cNvCxnSpPr>
            <a:stCxn id="8" idx="6"/>
          </p:cNvCxnSpPr>
          <p:nvPr/>
        </p:nvCxnSpPr>
        <p:spPr>
          <a:xfrm flipH="1" flipV="1">
            <a:off x="3771661" y="2255385"/>
            <a:ext cx="571500" cy="966788"/>
          </a:xfrm>
          <a:prstGeom prst="line">
            <a:avLst/>
          </a:prstGeom>
          <a:gradFill rotWithShape="1">
            <a:gsLst>
              <a:gs pos="0">
                <a:srgbClr val="D16349">
                  <a:tint val="100000"/>
                  <a:shade val="100000"/>
                  <a:satMod val="130000"/>
                </a:srgbClr>
              </a:gs>
              <a:gs pos="100000">
                <a:srgbClr val="D16349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11" name="Rechteck 10"/>
          <p:cNvSpPr/>
          <p:nvPr/>
        </p:nvSpPr>
        <p:spPr>
          <a:xfrm>
            <a:off x="3762136" y="2237385"/>
            <a:ext cx="5040000" cy="36000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Ellipse 11"/>
          <p:cNvSpPr/>
          <p:nvPr/>
        </p:nvSpPr>
        <p:spPr>
          <a:xfrm>
            <a:off x="8221111" y="3102058"/>
            <a:ext cx="1143000" cy="257175"/>
          </a:xfrm>
          <a:prstGeom prst="ellipse">
            <a:avLst/>
          </a:prstGeom>
          <a:solidFill>
            <a:srgbClr val="D9D9D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" name="Gerade Verbindung 44"/>
          <p:cNvCxnSpPr>
            <a:stCxn id="12" idx="2"/>
          </p:cNvCxnSpPr>
          <p:nvPr/>
        </p:nvCxnSpPr>
        <p:spPr>
          <a:xfrm flipV="1">
            <a:off x="8221111" y="2263858"/>
            <a:ext cx="571500" cy="966788"/>
          </a:xfrm>
          <a:prstGeom prst="line">
            <a:avLst/>
          </a:prstGeom>
          <a:gradFill rotWithShape="1">
            <a:gsLst>
              <a:gs pos="0">
                <a:srgbClr val="D16349">
                  <a:tint val="100000"/>
                  <a:shade val="100000"/>
                  <a:satMod val="130000"/>
                </a:srgbClr>
              </a:gs>
              <a:gs pos="100000">
                <a:srgbClr val="D16349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cxnSp>
        <p:nvCxnSpPr>
          <p:cNvPr id="14" name="Gerade Verbindung 45"/>
          <p:cNvCxnSpPr>
            <a:stCxn id="12" idx="6"/>
          </p:cNvCxnSpPr>
          <p:nvPr/>
        </p:nvCxnSpPr>
        <p:spPr>
          <a:xfrm flipH="1" flipV="1">
            <a:off x="8792611" y="2263858"/>
            <a:ext cx="571500" cy="966788"/>
          </a:xfrm>
          <a:prstGeom prst="line">
            <a:avLst/>
          </a:prstGeom>
          <a:gradFill rotWithShape="1">
            <a:gsLst>
              <a:gs pos="0">
                <a:srgbClr val="D16349">
                  <a:tint val="100000"/>
                  <a:shade val="100000"/>
                  <a:satMod val="130000"/>
                </a:srgbClr>
              </a:gs>
              <a:gs pos="100000">
                <a:srgbClr val="D16349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15" name="Rechteck 14"/>
          <p:cNvSpPr/>
          <p:nvPr/>
        </p:nvSpPr>
        <p:spPr>
          <a:xfrm>
            <a:off x="6336160" y="1956463"/>
            <a:ext cx="2456451" cy="30209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künftige Gewichtung </a:t>
            </a:r>
          </a:p>
        </p:txBody>
      </p:sp>
      <p:sp>
        <p:nvSpPr>
          <p:cNvPr id="16" name="Gleichschenkliges Dreieck 15"/>
          <p:cNvSpPr/>
          <p:nvPr/>
        </p:nvSpPr>
        <p:spPr>
          <a:xfrm>
            <a:off x="3700861" y="5277197"/>
            <a:ext cx="5162549" cy="409575"/>
          </a:xfrm>
          <a:prstGeom prst="triangle">
            <a:avLst/>
          </a:prstGeom>
          <a:solidFill>
            <a:srgbClr val="FF6600"/>
          </a:solidFill>
          <a:ln w="9525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7" name="Gruppieren 16"/>
          <p:cNvGrpSpPr/>
          <p:nvPr/>
        </p:nvGrpSpPr>
        <p:grpSpPr>
          <a:xfrm>
            <a:off x="3026226" y="-992052"/>
            <a:ext cx="6511820" cy="6511820"/>
            <a:chOff x="1344665" y="-705667"/>
            <a:chExt cx="6511820" cy="6511820"/>
          </a:xfrm>
          <a:effectLst/>
        </p:grpSpPr>
        <p:sp>
          <p:nvSpPr>
            <p:cNvPr id="18" name="Rechteck 17"/>
            <p:cNvSpPr/>
            <p:nvPr/>
          </p:nvSpPr>
          <p:spPr>
            <a:xfrm>
              <a:off x="2090100" y="2221678"/>
              <a:ext cx="2497140" cy="30209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rzeitige Gewichtung </a:t>
              </a:r>
            </a:p>
          </p:txBody>
        </p:sp>
        <p:sp>
          <p:nvSpPr>
            <p:cNvPr id="19" name="Rechteck 18"/>
            <p:cNvSpPr/>
            <p:nvPr/>
          </p:nvSpPr>
          <p:spPr>
            <a:xfrm>
              <a:off x="2080574" y="2525868"/>
              <a:ext cx="5040000" cy="36000"/>
            </a:xfrm>
            <a:prstGeom prst="rect">
              <a:avLst/>
            </a:prstGeom>
            <a:solidFill>
              <a:srgbClr val="FF0000"/>
            </a:solidFill>
            <a:ln w="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Ellipse 19"/>
            <p:cNvSpPr/>
            <p:nvPr/>
          </p:nvSpPr>
          <p:spPr>
            <a:xfrm>
              <a:off x="1344665" y="-705667"/>
              <a:ext cx="6511820" cy="6511820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1" name="Grafik 20"/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861" b="96337" l="2625" r="9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813" t="8181" r="6979" b="5128"/>
          <a:stretch/>
        </p:blipFill>
        <p:spPr>
          <a:xfrm>
            <a:off x="7964193" y="3964877"/>
            <a:ext cx="2744363" cy="1800000"/>
          </a:xfrm>
          <a:prstGeom prst="rect">
            <a:avLst/>
          </a:prstGeom>
          <a:effectLst/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7572" y="3599879"/>
            <a:ext cx="3135156" cy="2088798"/>
          </a:xfrm>
          <a:prstGeom prst="rect">
            <a:avLst/>
          </a:prstGeom>
          <a:effectLst/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544919" y="2586025"/>
            <a:ext cx="443098" cy="645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uppieren 23"/>
          <p:cNvGrpSpPr/>
          <p:nvPr/>
        </p:nvGrpSpPr>
        <p:grpSpPr>
          <a:xfrm>
            <a:off x="3200161" y="2255633"/>
            <a:ext cx="1143000" cy="1095375"/>
            <a:chOff x="1509075" y="2573768"/>
            <a:chExt cx="1143000" cy="1095375"/>
          </a:xfrm>
          <a:effectLst/>
        </p:grpSpPr>
        <p:grpSp>
          <p:nvGrpSpPr>
            <p:cNvPr id="25" name="Gruppieren 24"/>
            <p:cNvGrpSpPr/>
            <p:nvPr/>
          </p:nvGrpSpPr>
          <p:grpSpPr>
            <a:xfrm>
              <a:off x="1509075" y="2573768"/>
              <a:ext cx="1143000" cy="1095375"/>
              <a:chOff x="6619875" y="2466975"/>
              <a:chExt cx="1143000" cy="1095375"/>
            </a:xfrm>
          </p:grpSpPr>
          <p:sp>
            <p:nvSpPr>
              <p:cNvPr id="27" name="Ellipse 26"/>
              <p:cNvSpPr/>
              <p:nvPr/>
            </p:nvSpPr>
            <p:spPr>
              <a:xfrm>
                <a:off x="6619875" y="3305175"/>
                <a:ext cx="1143000" cy="257175"/>
              </a:xfrm>
              <a:prstGeom prst="ellipse">
                <a:avLst/>
              </a:prstGeom>
              <a:solidFill>
                <a:srgbClr val="FF0000"/>
              </a:solidFill>
              <a:ln w="3175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8" name="Gerade Verbindung 53"/>
              <p:cNvCxnSpPr>
                <a:stCxn id="27" idx="2"/>
              </p:cNvCxnSpPr>
              <p:nvPr/>
            </p:nvCxnSpPr>
            <p:spPr>
              <a:xfrm flipV="1">
                <a:off x="6619875" y="2466975"/>
                <a:ext cx="571500" cy="966788"/>
              </a:xfrm>
              <a:prstGeom prst="line">
                <a:avLst/>
              </a:prstGeom>
              <a:solidFill>
                <a:sysClr val="window" lastClr="FFFFFF">
                  <a:lumMod val="65000"/>
                </a:sysClr>
              </a:solidFill>
              <a:ln w="3175" cap="flat" cmpd="sng" algn="ctr">
                <a:solidFill>
                  <a:srgbClr val="FF0000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</p:cxnSp>
          <p:cxnSp>
            <p:nvCxnSpPr>
              <p:cNvPr id="29" name="Gerade Verbindung 54"/>
              <p:cNvCxnSpPr>
                <a:stCxn id="27" idx="6"/>
              </p:cNvCxnSpPr>
              <p:nvPr/>
            </p:nvCxnSpPr>
            <p:spPr>
              <a:xfrm flipH="1" flipV="1">
                <a:off x="7191375" y="2466975"/>
                <a:ext cx="571500" cy="966788"/>
              </a:xfrm>
              <a:prstGeom prst="line">
                <a:avLst/>
              </a:prstGeom>
              <a:solidFill>
                <a:sysClr val="window" lastClr="FFFFFF">
                  <a:lumMod val="65000"/>
                </a:sysClr>
              </a:solidFill>
              <a:ln w="3175" cap="flat" cmpd="sng" algn="ctr">
                <a:solidFill>
                  <a:srgbClr val="FF0000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</p:cxnSp>
        </p:grpSp>
        <p:pic>
          <p:nvPicPr>
            <p:cNvPr id="26" name="Picture 3"/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955575" y="3196129"/>
              <a:ext cx="231255" cy="3369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565357" y="2608078"/>
            <a:ext cx="443098" cy="645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" name="Gruppieren 30"/>
          <p:cNvGrpSpPr/>
          <p:nvPr/>
        </p:nvGrpSpPr>
        <p:grpSpPr>
          <a:xfrm>
            <a:off x="8221111" y="2265603"/>
            <a:ext cx="1143000" cy="1095375"/>
            <a:chOff x="6549075" y="2571038"/>
            <a:chExt cx="1143000" cy="1095375"/>
          </a:xfrm>
          <a:effectLst/>
        </p:grpSpPr>
        <p:grpSp>
          <p:nvGrpSpPr>
            <p:cNvPr id="32" name="Gruppieren 31"/>
            <p:cNvGrpSpPr/>
            <p:nvPr/>
          </p:nvGrpSpPr>
          <p:grpSpPr>
            <a:xfrm>
              <a:off x="6549075" y="2571038"/>
              <a:ext cx="1143000" cy="1095375"/>
              <a:chOff x="6619875" y="2466975"/>
              <a:chExt cx="1143000" cy="1095375"/>
            </a:xfrm>
          </p:grpSpPr>
          <p:sp>
            <p:nvSpPr>
              <p:cNvPr id="34" name="Ellipse 33"/>
              <p:cNvSpPr/>
              <p:nvPr/>
            </p:nvSpPr>
            <p:spPr>
              <a:xfrm>
                <a:off x="6619875" y="3305175"/>
                <a:ext cx="1143000" cy="257175"/>
              </a:xfrm>
              <a:prstGeom prst="ellipse">
                <a:avLst/>
              </a:prstGeom>
              <a:solidFill>
                <a:srgbClr val="FF0000"/>
              </a:solidFill>
              <a:ln w="3175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35" name="Gerade Verbindung 49"/>
              <p:cNvCxnSpPr>
                <a:stCxn id="34" idx="2"/>
              </p:cNvCxnSpPr>
              <p:nvPr/>
            </p:nvCxnSpPr>
            <p:spPr>
              <a:xfrm flipV="1">
                <a:off x="6619875" y="2466975"/>
                <a:ext cx="571500" cy="966788"/>
              </a:xfrm>
              <a:prstGeom prst="line">
                <a:avLst/>
              </a:prstGeom>
              <a:solidFill>
                <a:sysClr val="window" lastClr="FFFFFF">
                  <a:lumMod val="65000"/>
                </a:sysClr>
              </a:solidFill>
              <a:ln w="3175" cap="flat" cmpd="sng" algn="ctr">
                <a:solidFill>
                  <a:srgbClr val="FF0000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</p:cxnSp>
          <p:cxnSp>
            <p:nvCxnSpPr>
              <p:cNvPr id="36" name="Gerade Verbindung 50"/>
              <p:cNvCxnSpPr>
                <a:stCxn id="34" idx="6"/>
              </p:cNvCxnSpPr>
              <p:nvPr/>
            </p:nvCxnSpPr>
            <p:spPr>
              <a:xfrm flipH="1" flipV="1">
                <a:off x="7191375" y="2466975"/>
                <a:ext cx="571500" cy="966788"/>
              </a:xfrm>
              <a:prstGeom prst="line">
                <a:avLst/>
              </a:prstGeom>
              <a:solidFill>
                <a:sysClr val="window" lastClr="FFFFFF">
                  <a:lumMod val="65000"/>
                </a:sysClr>
              </a:solidFill>
              <a:ln w="3175" cap="flat" cmpd="sng" algn="ctr">
                <a:solidFill>
                  <a:srgbClr val="FF0000"/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</p:cxnSp>
        </p:grpSp>
        <p:pic>
          <p:nvPicPr>
            <p:cNvPr id="33" name="Picture 3"/>
            <p:cNvPicPr>
              <a:picLocks noChangeAspect="1" noChangeArrowheads="1"/>
            </p:cNvPicPr>
            <p:nvPr/>
          </p:nvPicPr>
          <p:blipFill>
            <a:blip r:embed="rId6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6892034" y="2916093"/>
              <a:ext cx="439385" cy="6402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7" name="Rechteck 36"/>
          <p:cNvSpPr/>
          <p:nvPr/>
        </p:nvSpPr>
        <p:spPr>
          <a:xfrm>
            <a:off x="2178812" y="5952331"/>
            <a:ext cx="2412000" cy="46800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marL="0" marR="0" lvl="0" indent="0" algn="ctr" defTabSz="457200" eaLnBrk="0" fontAlgn="auto" latinLnBrk="0" hangingPunct="0">
              <a:lnSpc>
                <a:spcPts val="20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Unterstützung</a:t>
            </a:r>
          </a:p>
        </p:txBody>
      </p:sp>
      <p:sp>
        <p:nvSpPr>
          <p:cNvPr id="38" name="Rechteck 37"/>
          <p:cNvSpPr/>
          <p:nvPr/>
        </p:nvSpPr>
        <p:spPr>
          <a:xfrm>
            <a:off x="7930187" y="5952331"/>
            <a:ext cx="2412000" cy="468001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9525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marL="0" marR="0" lvl="0" indent="0" algn="ctr" defTabSz="457200" eaLnBrk="0" fontAlgn="auto" latinLnBrk="0" hangingPunct="0">
              <a:lnSpc>
                <a:spcPts val="20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irkung</a:t>
            </a:r>
          </a:p>
        </p:txBody>
      </p:sp>
      <p:sp>
        <p:nvSpPr>
          <p:cNvPr id="39" name="Gleichschenkliges Dreieck 38"/>
          <p:cNvSpPr/>
          <p:nvPr/>
        </p:nvSpPr>
        <p:spPr>
          <a:xfrm>
            <a:off x="5958286" y="1809809"/>
            <a:ext cx="647700" cy="3876963"/>
          </a:xfrm>
          <a:prstGeom prst="triangle">
            <a:avLst/>
          </a:prstGeom>
          <a:solidFill>
            <a:srgbClr val="FF6600"/>
          </a:solidFill>
          <a:ln w="9525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Ellipse 39"/>
          <p:cNvSpPr/>
          <p:nvPr/>
        </p:nvSpPr>
        <p:spPr>
          <a:xfrm>
            <a:off x="6184504" y="2170206"/>
            <a:ext cx="200025" cy="171450"/>
          </a:xfrm>
          <a:prstGeom prst="ellipse">
            <a:avLst/>
          </a:prstGeom>
          <a:solidFill>
            <a:srgbClr val="FF6600"/>
          </a:solidFill>
          <a:ln w="9525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Datumsplatzhalter 1"/>
          <p:cNvSpPr>
            <a:spLocks noGrp="1"/>
          </p:cNvSpPr>
          <p:nvPr>
            <p:ph type="dt" sz="half" idx="10"/>
          </p:nvPr>
        </p:nvSpPr>
        <p:spPr>
          <a:xfrm>
            <a:off x="287338" y="6618000"/>
            <a:ext cx="1440000" cy="240000"/>
          </a:xfrm>
        </p:spPr>
        <p:txBody>
          <a:bodyPr/>
          <a:lstStyle/>
          <a:p>
            <a:r>
              <a:rPr lang="de-DE" dirty="0"/>
              <a:t>Streitkräftebasis</a:t>
            </a:r>
          </a:p>
        </p:txBody>
      </p:sp>
    </p:spTree>
    <p:extLst>
      <p:ext uri="{BB962C8B-B14F-4D97-AF65-F5344CB8AC3E}">
        <p14:creationId xmlns:p14="http://schemas.microsoft.com/office/powerpoint/2010/main" val="268768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500000">
                                      <p:cBhvr>
                                        <p:cTn id="1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37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4.81481E-6 L 0.00105 0.02106 C -3.95833E-6 0.03449 -3.95833E-6 0.0537 -0.00208 0.06898 C -0.00416 0.08402 -0.00742 0.09861 -0.01145 0.1118 L -0.02604 0.14837 " pathEditMode="relative" rAng="0" ptsTypes="AAAAA">
                                      <p:cBhvr>
                                        <p:cTn id="1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" y="7407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37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54 -0.15811 L 0.01303 -0.11875 C 0.01055 -0.11065 0.00782 -0.09769 0.00547 -0.08426 C 0.00287 -0.06875 0.00131 -0.05672 0.00091 -0.04746 L -0.00169 -0.0044 " pathEditMode="relative" rAng="6180000" ptsTypes="AAAAA">
                                      <p:cBhvr>
                                        <p:cTn id="20" dur="1000" spd="-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23" y="76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militärisch anspruchsvollste fal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0" y="6337918"/>
            <a:ext cx="3119042" cy="2897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KM: Internationales Krisenmanagement</a:t>
            </a:r>
          </a:p>
        </p:txBody>
      </p:sp>
      <p:pic>
        <p:nvPicPr>
          <p:cNvPr id="22" name="Picture 6" descr="Deutschlandkart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5144" y="1078076"/>
            <a:ext cx="3792619" cy="4726303"/>
          </a:xfrm>
          <a:prstGeom prst="rect">
            <a:avLst/>
          </a:prstGeom>
          <a:noFill/>
          <a:ln w="2857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Ellipse 24"/>
          <p:cNvSpPr/>
          <p:nvPr/>
        </p:nvSpPr>
        <p:spPr>
          <a:xfrm>
            <a:off x="4639071" y="3483993"/>
            <a:ext cx="1580421" cy="1369870"/>
          </a:xfrm>
          <a:prstGeom prst="ellipse">
            <a:avLst/>
          </a:prstGeom>
          <a:solidFill>
            <a:srgbClr val="647B8A">
              <a:lumMod val="20000"/>
              <a:lumOff val="80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700" b="1" kern="0" noProof="0" dirty="0">
              <a:solidFill>
                <a:srgbClr val="000000"/>
              </a:solidFill>
              <a:latin typeface="Arial"/>
            </a:endParaRPr>
          </a:p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st Nation Support</a:t>
            </a:r>
            <a:b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de-DE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</a:t>
            </a: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de-DE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iv</a:t>
            </a: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626591" y="1078077"/>
            <a:ext cx="1735141" cy="1866510"/>
          </a:xfrm>
          <a:prstGeom prst="rect">
            <a:avLst/>
          </a:prstGeom>
          <a:ln w="190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81452" y="3917450"/>
            <a:ext cx="2476632" cy="1798477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8" name="Pfeil nach rechts 27"/>
          <p:cNvSpPr/>
          <p:nvPr/>
        </p:nvSpPr>
        <p:spPr>
          <a:xfrm rot="1448627">
            <a:off x="6757129" y="4256905"/>
            <a:ext cx="1628996" cy="699788"/>
          </a:xfrm>
          <a:prstGeom prst="rightArrow">
            <a:avLst/>
          </a:prstGeom>
          <a:solidFill>
            <a:srgbClr val="CCECFF"/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KM/360°</a:t>
            </a:r>
          </a:p>
        </p:txBody>
      </p:sp>
      <p:sp>
        <p:nvSpPr>
          <p:cNvPr id="29" name="Rechteck 28"/>
          <p:cNvSpPr/>
          <p:nvPr/>
        </p:nvSpPr>
        <p:spPr>
          <a:xfrm>
            <a:off x="2750694" y="5768485"/>
            <a:ext cx="6298086" cy="349894"/>
          </a:xfrm>
          <a:prstGeom prst="rect">
            <a:avLst/>
          </a:prstGeom>
          <a:solidFill>
            <a:srgbClr val="FF0000">
              <a:alpha val="50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soperationen</a:t>
            </a:r>
          </a:p>
        </p:txBody>
      </p:sp>
      <p:sp>
        <p:nvSpPr>
          <p:cNvPr id="30" name="Rechteck 29"/>
          <p:cNvSpPr/>
          <p:nvPr/>
        </p:nvSpPr>
        <p:spPr>
          <a:xfrm>
            <a:off x="2750694" y="6164182"/>
            <a:ext cx="6298086" cy="349894"/>
          </a:xfrm>
          <a:prstGeom prst="rect">
            <a:avLst/>
          </a:prstGeom>
          <a:solidFill>
            <a:srgbClr val="FF0000">
              <a:alpha val="50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yber</a:t>
            </a: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1" name="Gruppieren 30"/>
          <p:cNvGrpSpPr/>
          <p:nvPr/>
        </p:nvGrpSpPr>
        <p:grpSpPr>
          <a:xfrm>
            <a:off x="2652575" y="1153117"/>
            <a:ext cx="6104150" cy="4395829"/>
            <a:chOff x="879068" y="895813"/>
            <a:chExt cx="6280462" cy="4522792"/>
          </a:xfrm>
        </p:grpSpPr>
        <p:sp>
          <p:nvSpPr>
            <p:cNvPr id="32" name="Rechteck 31"/>
            <p:cNvSpPr/>
            <p:nvPr/>
          </p:nvSpPr>
          <p:spPr>
            <a:xfrm>
              <a:off x="980021" y="895813"/>
              <a:ext cx="1246633" cy="360000"/>
            </a:xfrm>
            <a:prstGeom prst="rect">
              <a:avLst/>
            </a:prstGeom>
            <a:solidFill>
              <a:srgbClr val="647B8A">
                <a:lumMod val="20000"/>
                <a:lumOff val="80000"/>
              </a:srgbClr>
            </a:solidFill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ehäfen</a:t>
              </a:r>
            </a:p>
          </p:txBody>
        </p:sp>
        <p:cxnSp>
          <p:nvCxnSpPr>
            <p:cNvPr id="33" name="Gerader Verbinder 32"/>
            <p:cNvCxnSpPr>
              <a:stCxn id="32" idx="3"/>
            </p:cNvCxnSpPr>
            <p:nvPr/>
          </p:nvCxnSpPr>
          <p:spPr>
            <a:xfrm>
              <a:off x="2226654" y="1075813"/>
              <a:ext cx="830871" cy="638601"/>
            </a:xfrm>
            <a:prstGeom prst="line">
              <a:avLst/>
            </a:prstGeom>
            <a:solidFill>
              <a:srgbClr val="647B8A">
                <a:lumMod val="20000"/>
                <a:lumOff val="80000"/>
              </a:srgbClr>
            </a:solidFill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sp>
          <p:nvSpPr>
            <p:cNvPr id="34" name="Rechteck 33"/>
            <p:cNvSpPr/>
            <p:nvPr/>
          </p:nvSpPr>
          <p:spPr>
            <a:xfrm>
              <a:off x="879068" y="5058605"/>
              <a:ext cx="1564950" cy="360000"/>
            </a:xfrm>
            <a:prstGeom prst="rect">
              <a:avLst/>
            </a:prstGeom>
            <a:solidFill>
              <a:srgbClr val="647B8A">
                <a:lumMod val="20000"/>
                <a:lumOff val="80000"/>
              </a:srgbClr>
            </a:solidFill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uptquartier</a:t>
              </a:r>
            </a:p>
          </p:txBody>
        </p:sp>
        <p:cxnSp>
          <p:nvCxnSpPr>
            <p:cNvPr id="35" name="Gerader Verbinder 34"/>
            <p:cNvCxnSpPr>
              <a:stCxn id="34" idx="3"/>
            </p:cNvCxnSpPr>
            <p:nvPr/>
          </p:nvCxnSpPr>
          <p:spPr>
            <a:xfrm flipV="1">
              <a:off x="2444019" y="4033082"/>
              <a:ext cx="281244" cy="1205523"/>
            </a:xfrm>
            <a:prstGeom prst="line">
              <a:avLst/>
            </a:prstGeom>
            <a:solidFill>
              <a:srgbClr val="647B8A">
                <a:lumMod val="20000"/>
                <a:lumOff val="80000"/>
              </a:srgbClr>
            </a:solidFill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sp>
          <p:nvSpPr>
            <p:cNvPr id="36" name="Rechteck 35"/>
            <p:cNvSpPr/>
            <p:nvPr/>
          </p:nvSpPr>
          <p:spPr>
            <a:xfrm>
              <a:off x="5589058" y="895813"/>
              <a:ext cx="1570472" cy="360000"/>
            </a:xfrm>
            <a:prstGeom prst="rect">
              <a:avLst/>
            </a:prstGeom>
            <a:solidFill>
              <a:srgbClr val="647B8A">
                <a:lumMod val="20000"/>
                <a:lumOff val="80000"/>
              </a:srgbClr>
            </a:solidFill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lugplätze</a:t>
              </a:r>
            </a:p>
          </p:txBody>
        </p:sp>
        <p:cxnSp>
          <p:nvCxnSpPr>
            <p:cNvPr id="37" name="Gerader Verbinder 36"/>
            <p:cNvCxnSpPr>
              <a:stCxn id="36" idx="2"/>
            </p:cNvCxnSpPr>
            <p:nvPr/>
          </p:nvCxnSpPr>
          <p:spPr>
            <a:xfrm flipH="1">
              <a:off x="4419602" y="1255813"/>
              <a:ext cx="1954692" cy="542149"/>
            </a:xfrm>
            <a:prstGeom prst="line">
              <a:avLst/>
            </a:prstGeom>
            <a:solidFill>
              <a:srgbClr val="647B8A">
                <a:lumMod val="20000"/>
                <a:lumOff val="80000"/>
              </a:srgbClr>
            </a:solidFill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</p:grpSp>
      <p:sp>
        <p:nvSpPr>
          <p:cNvPr id="24" name="Gestreifter Pfeil nach rechts 23"/>
          <p:cNvSpPr/>
          <p:nvPr/>
        </p:nvSpPr>
        <p:spPr>
          <a:xfrm>
            <a:off x="2449550" y="3191557"/>
            <a:ext cx="6008441" cy="699788"/>
          </a:xfrm>
          <a:prstGeom prst="stripedRightArrow">
            <a:avLst/>
          </a:prstGeom>
          <a:solidFill>
            <a:srgbClr val="647B8A">
              <a:lumMod val="20000"/>
              <a:lumOff val="80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it Alliierter</a:t>
            </a:r>
          </a:p>
        </p:txBody>
      </p:sp>
      <p:sp>
        <p:nvSpPr>
          <p:cNvPr id="23" name="Gestreifter Pfeil nach rechts 22"/>
          <p:cNvSpPr/>
          <p:nvPr/>
        </p:nvSpPr>
        <p:spPr>
          <a:xfrm>
            <a:off x="5239694" y="2378562"/>
            <a:ext cx="3218297" cy="699788"/>
          </a:xfrm>
          <a:prstGeom prst="stripedRightArrow">
            <a:avLst/>
          </a:prstGeom>
          <a:solidFill>
            <a:srgbClr val="647B8A">
              <a:lumMod val="20000"/>
              <a:lumOff val="80000"/>
            </a:srgbClr>
          </a:solidFill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fmarsch Bundeswehr</a:t>
            </a:r>
          </a:p>
        </p:txBody>
      </p:sp>
    </p:spTree>
    <p:extLst>
      <p:ext uri="{BB962C8B-B14F-4D97-AF65-F5344CB8AC3E}">
        <p14:creationId xmlns:p14="http://schemas.microsoft.com/office/powerpoint/2010/main" val="3596131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8" grpId="0" animBg="1"/>
      <p:bldP spid="24" grpId="0" animBg="1"/>
      <p:bldP spid="2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fik 3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622" y="4831115"/>
            <a:ext cx="2438400" cy="16245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 anchorCtr="0"/>
          <a:lstStyle/>
          <a:p>
            <a:r>
              <a:rPr lang="de-DE" sz="2300" dirty="0">
                <a:latin typeface="Arial Narrow" panose="020B0606020202030204" pitchFamily="34" charset="0"/>
                <a:cs typeface="Arial" panose="020B0604020202020204" pitchFamily="34" charset="0"/>
              </a:rPr>
              <a:t>Führung von Einsätzen der Bundeswehr in Deutschland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979" y="943974"/>
            <a:ext cx="2431520" cy="162157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8241" y="1776631"/>
            <a:ext cx="2431520" cy="162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241" y="2347544"/>
            <a:ext cx="2106000" cy="270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8241" y="4034816"/>
            <a:ext cx="2431520" cy="162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28" name="Grafik 2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6551" y="2887544"/>
            <a:ext cx="2431520" cy="16200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12" name="Text Box 1036"/>
          <p:cNvSpPr txBox="1">
            <a:spLocks noChangeArrowheads="1"/>
          </p:cNvSpPr>
          <p:nvPr/>
        </p:nvSpPr>
        <p:spPr bwMode="auto">
          <a:xfrm>
            <a:off x="6362925" y="1294832"/>
            <a:ext cx="5553426" cy="4320000"/>
          </a:xfrm>
          <a:prstGeom prst="rect">
            <a:avLst/>
          </a:prstGeom>
          <a:solidFill>
            <a:srgbClr val="FFFFFF">
              <a:lumMod val="8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t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R="0" lvl="0" algn="l" defTabSz="685800" rtl="0" eaLnBrk="0" fontAlgn="auto" latinLnBrk="0" hangingPunct="0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olle Streitkräftebasis</a:t>
            </a:r>
          </a:p>
          <a:p>
            <a:pPr marL="214313" marR="0" lvl="0" indent="-214313" algn="l" defTabSz="685800" rtl="0" eaLnBrk="0" fontAlgn="auto" latinLnBrk="0" hangingPunct="0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spekteur Streitkräftebasis = Nationaler Territorialer Befehlshaber</a:t>
            </a:r>
          </a:p>
          <a:p>
            <a:pPr marL="214313" marR="0" lvl="0" indent="-214313" algn="l" defTabSz="685800" rtl="0" eaLnBrk="0" fontAlgn="auto" latinLnBrk="0" hangingPunct="0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Führung von Einsätzen der Bundeswehr im Inland</a:t>
            </a:r>
          </a:p>
          <a:p>
            <a:pPr marL="957263" lvl="1" indent="-214313" defTabSz="6858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de-DE" b="1" kern="0" dirty="0">
                <a:solidFill>
                  <a:prstClr val="black"/>
                </a:solidFill>
              </a:rPr>
              <a:t>Amts- und Katastrophenhilfe</a:t>
            </a:r>
          </a:p>
          <a:p>
            <a:pPr marL="957263" lvl="1" indent="-214313" defTabSz="6858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kumimoji="0" lang="de-DE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Heimatschutz</a:t>
            </a:r>
          </a:p>
          <a:p>
            <a:pPr marL="957263" lvl="1" indent="-214313" defTabSz="6858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de-DE" b="1" kern="0" dirty="0">
                <a:solidFill>
                  <a:prstClr val="black"/>
                </a:solidFill>
              </a:rPr>
              <a:t>Aufmarschland DEU</a:t>
            </a:r>
          </a:p>
          <a:p>
            <a:pPr marL="957263" lvl="1" indent="-214313" defTabSz="6858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kumimoji="0" lang="de-DE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ransitland DEU</a:t>
            </a:r>
          </a:p>
          <a:p>
            <a:pPr marL="957263" lvl="1" indent="-214313" defTabSz="685800">
              <a:lnSpc>
                <a:spcPts val="2000"/>
              </a:lnSpc>
              <a:buFont typeface="Arial" panose="020B0604020202020204" pitchFamily="34" charset="0"/>
              <a:buChar char="•"/>
              <a:defRPr/>
            </a:pPr>
            <a:r>
              <a:rPr lang="de-DE" b="1" kern="0" dirty="0">
                <a:solidFill>
                  <a:prstClr val="black"/>
                </a:solidFill>
              </a:rPr>
              <a:t>Rückwärtiges Einsatzgebiet DEU</a:t>
            </a:r>
            <a:endParaRPr kumimoji="0" lang="de-DE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214313" marR="0" lvl="0" indent="-214313" algn="l" defTabSz="685800" rtl="0" eaLnBrk="0" fontAlgn="auto" latinLnBrk="0" hangingPunct="0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erritoriales Netzwerk – ständiger Ansprechpartner der Länder, Kreise und Kommunen</a:t>
            </a:r>
          </a:p>
          <a:p>
            <a:pPr marL="214313" marR="0" lvl="0" indent="-214313" algn="l" defTabSz="685800" rtl="0" eaLnBrk="0" fontAlgn="auto" latinLnBrk="0" hangingPunct="0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Zusammenarbeit mit „Blaulichtorganisationen“</a:t>
            </a:r>
          </a:p>
        </p:txBody>
      </p:sp>
    </p:spTree>
    <p:extLst>
      <p:ext uri="{BB962C8B-B14F-4D97-AF65-F5344CB8AC3E}">
        <p14:creationId xmlns:p14="http://schemas.microsoft.com/office/powerpoint/2010/main" val="190092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Arial Narrow" panose="020B0606020202030204" pitchFamily="34" charset="0"/>
                <a:cs typeface="Arial" panose="020B0604020202020204" pitchFamily="34" charset="0"/>
              </a:rPr>
              <a:t>Gesprächsrunde der Behördenleiter zur Sicherheit in Deutschland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1" y="3648043"/>
            <a:ext cx="12192000" cy="297136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5993" y="1645122"/>
            <a:ext cx="746033" cy="913538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6934" y="961743"/>
            <a:ext cx="983883" cy="103220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4055" y="2535926"/>
            <a:ext cx="791818" cy="996797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9100" y="5534262"/>
            <a:ext cx="1072445" cy="107244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38483" y="1743009"/>
            <a:ext cx="1598451" cy="839688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81046" y="2821949"/>
            <a:ext cx="1596456" cy="812636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9068" y="4873360"/>
            <a:ext cx="1137246" cy="1137246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3757" y="3705202"/>
            <a:ext cx="783962" cy="1048549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9516" y="4142776"/>
            <a:ext cx="1629201" cy="922222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8602" y="5576989"/>
            <a:ext cx="1653875" cy="936189"/>
          </a:xfrm>
          <a:prstGeom prst="rect">
            <a:avLst/>
          </a:prstGeom>
        </p:spPr>
      </p:pic>
      <p:grpSp>
        <p:nvGrpSpPr>
          <p:cNvPr id="16" name="Gruppieren 15"/>
          <p:cNvGrpSpPr/>
          <p:nvPr/>
        </p:nvGrpSpPr>
        <p:grpSpPr>
          <a:xfrm>
            <a:off x="3674055" y="1609478"/>
            <a:ext cx="4473126" cy="3908160"/>
            <a:chOff x="3684565" y="1630498"/>
            <a:chExt cx="4473126" cy="3908160"/>
          </a:xfrm>
        </p:grpSpPr>
        <p:sp>
          <p:nvSpPr>
            <p:cNvPr id="17" name="Regelmäßiges Fünfeck 16"/>
            <p:cNvSpPr/>
            <p:nvPr/>
          </p:nvSpPr>
          <p:spPr>
            <a:xfrm>
              <a:off x="3684565" y="1630498"/>
              <a:ext cx="4473126" cy="3908160"/>
            </a:xfrm>
            <a:prstGeom prst="pentagon">
              <a:avLst/>
            </a:prstGeom>
            <a:solidFill>
              <a:schemeClr val="bg1"/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8" name="Grafik 17"/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13111" y="2447426"/>
              <a:ext cx="2069778" cy="2732290"/>
            </a:xfrm>
            <a:prstGeom prst="rect">
              <a:avLst/>
            </a:prstGeom>
          </p:spPr>
        </p:pic>
      </p:grpSp>
      <p:sp>
        <p:nvSpPr>
          <p:cNvPr id="19" name="Textfeld 18"/>
          <p:cNvSpPr txBox="1"/>
          <p:nvPr/>
        </p:nvSpPr>
        <p:spPr>
          <a:xfrm>
            <a:off x="2608489" y="1041221"/>
            <a:ext cx="18270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ndespolizei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342753" y="1846974"/>
            <a:ext cx="2460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völkerungsschutz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133350" y="2958124"/>
            <a:ext cx="17368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-Sicherhei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209551" y="4326334"/>
            <a:ext cx="20264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rsitzender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63441" y="5811379"/>
            <a:ext cx="3327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rsitzender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7039053" y="6039327"/>
            <a:ext cx="29431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8704515" y="5257317"/>
            <a:ext cx="27540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fassungsschutz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8963581" y="3943025"/>
            <a:ext cx="15514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D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9212747" y="2659184"/>
            <a:ext cx="28173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rritoriale Aufgaben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8186308" y="1793521"/>
            <a:ext cx="33835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yber- und Informationsraum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7189539" y="994842"/>
            <a:ext cx="38213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itkräftebasis</a:t>
            </a:r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781" y="809729"/>
            <a:ext cx="892031" cy="1037245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94695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 anchorCtr="0"/>
          <a:lstStyle/>
          <a:p>
            <a:r>
              <a:rPr lang="de-DE" sz="2300" dirty="0">
                <a:cs typeface="Arial" panose="020B0604020202020204" pitchFamily="34" charset="0"/>
              </a:rPr>
              <a:t>Kooperation mit der Bundespolizei</a:t>
            </a: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7912" y="1369073"/>
            <a:ext cx="3242026" cy="2238485"/>
          </a:xfrm>
          <a:prstGeom prst="rect">
            <a:avLst/>
          </a:prstGeom>
        </p:spPr>
      </p:pic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506423" y="2330123"/>
            <a:ext cx="5573031" cy="4030828"/>
          </a:xfrm>
          <a:prstGeom prst="rect">
            <a:avLst/>
          </a:prstGeom>
          <a:solidFill>
            <a:schemeClr val="bg1">
              <a:lumMod val="85000"/>
            </a:schemeClr>
          </a:solidFill>
          <a:ln w="936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67500" tIns="108000" rIns="67500" bIns="35100" anchor="t"/>
          <a:lstStyle/>
          <a:p>
            <a:pPr marL="8144" marR="0" lvl="0" indent="0" algn="l" defTabSz="586427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>
                <a:tab pos="126652" algn="l"/>
                <a:tab pos="127059" algn="l"/>
              </a:tabLst>
              <a:defRPr/>
            </a:pPr>
            <a:r>
              <a:rPr kumimoji="0" lang="de-DE" alt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Kooperationsfelder</a:t>
            </a:r>
          </a:p>
          <a:p>
            <a:pPr marL="293894" marR="0" lvl="0" indent="-285750" algn="l" defTabSz="586427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26652" algn="l"/>
                <a:tab pos="127059" algn="l"/>
              </a:tabLst>
              <a:defRPr/>
            </a:pPr>
            <a:r>
              <a:rPr kumimoji="0" lang="de-DE" alt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Personal, Material, Ausbildung</a:t>
            </a:r>
          </a:p>
          <a:p>
            <a:pPr marL="293894" marR="0" lvl="0" indent="-285750" algn="l" defTabSz="586427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26652" algn="l"/>
                <a:tab pos="127059" algn="l"/>
              </a:tabLst>
              <a:defRPr/>
            </a:pPr>
            <a:r>
              <a:rPr kumimoji="0" lang="de-DE" alt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gemeinsame Planungen, Vorbereitung und Durchführung von „Großereignissen“</a:t>
            </a:r>
            <a:br>
              <a:rPr kumimoji="0" lang="de-DE" alt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</a:br>
            <a:r>
              <a:rPr kumimoji="0" lang="de-DE" alt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(z.B. „DEFENDER EUROPE 20“)</a:t>
            </a:r>
          </a:p>
          <a:p>
            <a:pPr marL="293894" marR="0" lvl="0" indent="-285750" algn="l" defTabSz="586427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26652" algn="l"/>
                <a:tab pos="127059" algn="l"/>
              </a:tabLst>
              <a:defRPr/>
            </a:pPr>
            <a:r>
              <a:rPr kumimoji="0" lang="de-DE" alt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Gemeinsame Lagebilder, Informationsaustausch, Kommunikationsstrategie</a:t>
            </a:r>
          </a:p>
          <a:p>
            <a:pPr marL="8144" marR="0" lvl="0" indent="0" algn="r" defTabSz="586427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>
                <a:tab pos="126652" algn="l"/>
                <a:tab pos="127059" algn="l"/>
              </a:tabLst>
              <a:defRPr/>
            </a:pPr>
            <a:endParaRPr kumimoji="0" lang="de-DE" altLang="de-DE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Calibri"/>
            </a:endParaRP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85" y="1369073"/>
            <a:ext cx="2884243" cy="4366725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6423" y="1052983"/>
            <a:ext cx="1110344" cy="1164878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67030" y="1077719"/>
            <a:ext cx="1112424" cy="1116000"/>
          </a:xfrm>
          <a:prstGeom prst="rect">
            <a:avLst/>
          </a:prstGeom>
        </p:spPr>
      </p:pic>
      <p:sp>
        <p:nvSpPr>
          <p:cNvPr id="22" name="Pfeil nach rechts 21"/>
          <p:cNvSpPr/>
          <p:nvPr/>
        </p:nvSpPr>
        <p:spPr>
          <a:xfrm>
            <a:off x="7019956" y="4932268"/>
            <a:ext cx="1039313" cy="735106"/>
          </a:xfrm>
          <a:prstGeom prst="rightArrow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1615" y="3748380"/>
            <a:ext cx="3918856" cy="2612571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352295" y="6640312"/>
            <a:ext cx="1440000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itkräftebasi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330895" y="4738957"/>
            <a:ext cx="34769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Motor und Initiator der Zusammenarbeit </a:t>
            </a:r>
            <a:br>
              <a:rPr kumimoji="0" lang="de-DE" alt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</a:br>
            <a:r>
              <a:rPr kumimoji="0" lang="de-DE" alt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Bundeswehr – Behörden mit Ordnungs- und Sicherungsfunktion (BOS)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745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pieren 10"/>
          <p:cNvGrpSpPr/>
          <p:nvPr/>
        </p:nvGrpSpPr>
        <p:grpSpPr>
          <a:xfrm>
            <a:off x="734125" y="672403"/>
            <a:ext cx="10701552" cy="5778010"/>
            <a:chOff x="239350" y="1072427"/>
            <a:chExt cx="9798337" cy="5332904"/>
          </a:xfrm>
        </p:grpSpPr>
        <p:pic>
          <p:nvPicPr>
            <p:cNvPr id="12" name="Picture 12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9350" y="1271366"/>
              <a:ext cx="9798337" cy="5133965"/>
            </a:xfrm>
            <a:prstGeom prst="rect">
              <a:avLst/>
            </a:prstGeom>
            <a:noFill/>
            <a:ln>
              <a:solidFill>
                <a:srgbClr val="00B050"/>
              </a:solidFill>
              <a:prstDash val="sysDash"/>
            </a:ln>
          </p:spPr>
        </p:pic>
        <p:pic>
          <p:nvPicPr>
            <p:cNvPr id="14" name="Picture 168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96234" y="2690507"/>
              <a:ext cx="219300" cy="191143"/>
            </a:xfrm>
            <a:prstGeom prst="rect">
              <a:avLst/>
            </a:prstGeom>
            <a:solidFill>
              <a:sysClr val="window" lastClr="FFFFFF"/>
            </a:solidFill>
          </p:spPr>
        </p:pic>
        <p:pic>
          <p:nvPicPr>
            <p:cNvPr id="15" name="Picture 199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93338" y="1955051"/>
              <a:ext cx="219300" cy="191143"/>
            </a:xfrm>
            <a:prstGeom prst="rect">
              <a:avLst/>
            </a:prstGeom>
            <a:solidFill>
              <a:sysClr val="window" lastClr="FFFFFF"/>
            </a:solidFill>
          </p:spPr>
        </p:pic>
        <p:pic>
          <p:nvPicPr>
            <p:cNvPr id="16" name="Picture 203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15689" y="1072427"/>
              <a:ext cx="219300" cy="191143"/>
            </a:xfrm>
            <a:prstGeom prst="rect">
              <a:avLst/>
            </a:prstGeom>
            <a:solidFill>
              <a:sysClr val="window" lastClr="FFFFFF"/>
            </a:solidFill>
          </p:spPr>
        </p:pic>
        <p:sp>
          <p:nvSpPr>
            <p:cNvPr id="17" name="Flowchart: Decision 215"/>
            <p:cNvSpPr/>
            <p:nvPr/>
          </p:nvSpPr>
          <p:spPr>
            <a:xfrm>
              <a:off x="6093395" y="2725785"/>
              <a:ext cx="198036" cy="197988"/>
            </a:xfrm>
            <a:prstGeom prst="flowChartDecision">
              <a:avLst/>
            </a:prstGeom>
            <a:solidFill>
              <a:srgbClr val="00B0F0"/>
            </a:solidFill>
            <a:ln w="635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b="1" kern="0" dirty="0">
                  <a:solidFill>
                    <a:prstClr val="black"/>
                  </a:solidFill>
                  <a:latin typeface="Calibri"/>
                </a:rPr>
                <a:t>7</a:t>
              </a:r>
            </a:p>
          </p:txBody>
        </p:sp>
        <p:sp>
          <p:nvSpPr>
            <p:cNvPr id="18" name="Flowchart: Decision 216"/>
            <p:cNvSpPr/>
            <p:nvPr/>
          </p:nvSpPr>
          <p:spPr>
            <a:xfrm>
              <a:off x="6760055" y="3351217"/>
              <a:ext cx="198036" cy="197988"/>
            </a:xfrm>
            <a:prstGeom prst="flowChartDecision">
              <a:avLst/>
            </a:prstGeom>
            <a:solidFill>
              <a:srgbClr val="00B0F0"/>
            </a:solidFill>
            <a:ln w="635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b="1" kern="0" dirty="0">
                  <a:solidFill>
                    <a:prstClr val="black"/>
                  </a:solidFill>
                  <a:latin typeface="Calibri"/>
                </a:rPr>
                <a:t>8</a:t>
              </a:r>
            </a:p>
          </p:txBody>
        </p:sp>
        <p:sp>
          <p:nvSpPr>
            <p:cNvPr id="19" name="Flowchart: Decision 218"/>
            <p:cNvSpPr/>
            <p:nvPr/>
          </p:nvSpPr>
          <p:spPr>
            <a:xfrm>
              <a:off x="6031117" y="4242126"/>
              <a:ext cx="198036" cy="197988"/>
            </a:xfrm>
            <a:prstGeom prst="flowChartDecision">
              <a:avLst/>
            </a:prstGeom>
            <a:solidFill>
              <a:srgbClr val="00B0F0"/>
            </a:solidFill>
            <a:ln w="635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wrap="none" lIns="0" tIns="0" rIns="0" bIns="0" rtlCol="0" anchor="ctr"/>
            <a:lstStyle/>
            <a:p>
              <a:pPr algn="ctr" defTabSz="1219170">
                <a:defRPr/>
              </a:pPr>
              <a:r>
                <a:rPr lang="en-US" sz="1067" b="1" kern="0" dirty="0">
                  <a:solidFill>
                    <a:prstClr val="black"/>
                  </a:solidFill>
                  <a:latin typeface="Calibri"/>
                </a:rPr>
                <a:t>10</a:t>
              </a:r>
            </a:p>
          </p:txBody>
        </p:sp>
        <p:sp>
          <p:nvSpPr>
            <p:cNvPr id="20" name="Flowchart: Decision 221"/>
            <p:cNvSpPr/>
            <p:nvPr/>
          </p:nvSpPr>
          <p:spPr>
            <a:xfrm>
              <a:off x="6343047" y="2015314"/>
              <a:ext cx="198036" cy="197988"/>
            </a:xfrm>
            <a:prstGeom prst="flowChartDecision">
              <a:avLst/>
            </a:prstGeom>
            <a:solidFill>
              <a:srgbClr val="00B0F0"/>
            </a:solidFill>
            <a:ln w="635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wrap="none" lIns="0" tIns="0" rIns="0" bIns="0" rtlCol="0" anchor="ctr"/>
            <a:lstStyle/>
            <a:p>
              <a:pPr algn="ctr" defTabSz="1219170">
                <a:defRPr/>
              </a:pPr>
              <a:r>
                <a:rPr lang="en-US" sz="1067" b="1" kern="0" dirty="0">
                  <a:solidFill>
                    <a:prstClr val="black"/>
                  </a:solidFill>
                  <a:latin typeface="Calibri"/>
                </a:rPr>
                <a:t>12</a:t>
              </a:r>
            </a:p>
          </p:txBody>
        </p:sp>
        <p:sp>
          <p:nvSpPr>
            <p:cNvPr id="21" name="Flowchart: Decision 222"/>
            <p:cNvSpPr/>
            <p:nvPr/>
          </p:nvSpPr>
          <p:spPr>
            <a:xfrm>
              <a:off x="6291431" y="2999273"/>
              <a:ext cx="198036" cy="197988"/>
            </a:xfrm>
            <a:prstGeom prst="flowChartDecision">
              <a:avLst/>
            </a:prstGeom>
            <a:solidFill>
              <a:srgbClr val="00B0F0"/>
            </a:solidFill>
            <a:ln w="635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wrap="none" lIns="0" tIns="0" rIns="0" bIns="0" rtlCol="0" anchor="ctr"/>
            <a:lstStyle/>
            <a:p>
              <a:pPr algn="ctr" defTabSz="1219170">
                <a:defRPr/>
              </a:pPr>
              <a:r>
                <a:rPr lang="en-US" sz="1067" b="1" kern="0" dirty="0">
                  <a:solidFill>
                    <a:prstClr val="black"/>
                  </a:solidFill>
                  <a:latin typeface="Calibri"/>
                </a:rPr>
                <a:t>13</a:t>
              </a:r>
            </a:p>
          </p:txBody>
        </p:sp>
        <p:sp>
          <p:nvSpPr>
            <p:cNvPr id="22" name="Freeform 26"/>
            <p:cNvSpPr/>
            <p:nvPr/>
          </p:nvSpPr>
          <p:spPr>
            <a:xfrm>
              <a:off x="4222836" y="3692882"/>
              <a:ext cx="2691331" cy="2205567"/>
            </a:xfrm>
            <a:custGeom>
              <a:avLst/>
              <a:gdLst>
                <a:gd name="connsiteX0" fmla="*/ 69056 w 881062"/>
                <a:gd name="connsiteY0" fmla="*/ 1285875 h 1285875"/>
                <a:gd name="connsiteX1" fmla="*/ 0 w 881062"/>
                <a:gd name="connsiteY1" fmla="*/ 1269206 h 1285875"/>
                <a:gd name="connsiteX2" fmla="*/ 9525 w 881062"/>
                <a:gd name="connsiteY2" fmla="*/ 1212056 h 1285875"/>
                <a:gd name="connsiteX3" fmla="*/ 0 w 881062"/>
                <a:gd name="connsiteY3" fmla="*/ 1193006 h 1285875"/>
                <a:gd name="connsiteX4" fmla="*/ 50006 w 881062"/>
                <a:gd name="connsiteY4" fmla="*/ 1162050 h 1285875"/>
                <a:gd name="connsiteX5" fmla="*/ 50006 w 881062"/>
                <a:gd name="connsiteY5" fmla="*/ 1078706 h 1285875"/>
                <a:gd name="connsiteX6" fmla="*/ 52387 w 881062"/>
                <a:gd name="connsiteY6" fmla="*/ 1059656 h 1285875"/>
                <a:gd name="connsiteX7" fmla="*/ 90487 w 881062"/>
                <a:gd name="connsiteY7" fmla="*/ 1035843 h 1285875"/>
                <a:gd name="connsiteX8" fmla="*/ 109537 w 881062"/>
                <a:gd name="connsiteY8" fmla="*/ 964406 h 1285875"/>
                <a:gd name="connsiteX9" fmla="*/ 116681 w 881062"/>
                <a:gd name="connsiteY9" fmla="*/ 926306 h 1285875"/>
                <a:gd name="connsiteX10" fmla="*/ 100012 w 881062"/>
                <a:gd name="connsiteY10" fmla="*/ 904875 h 1285875"/>
                <a:gd name="connsiteX11" fmla="*/ 223837 w 881062"/>
                <a:gd name="connsiteY11" fmla="*/ 845343 h 1285875"/>
                <a:gd name="connsiteX12" fmla="*/ 240506 w 881062"/>
                <a:gd name="connsiteY12" fmla="*/ 847725 h 1285875"/>
                <a:gd name="connsiteX13" fmla="*/ 295275 w 881062"/>
                <a:gd name="connsiteY13" fmla="*/ 762000 h 1285875"/>
                <a:gd name="connsiteX14" fmla="*/ 323850 w 881062"/>
                <a:gd name="connsiteY14" fmla="*/ 752475 h 1285875"/>
                <a:gd name="connsiteX15" fmla="*/ 381000 w 881062"/>
                <a:gd name="connsiteY15" fmla="*/ 716756 h 1285875"/>
                <a:gd name="connsiteX16" fmla="*/ 392906 w 881062"/>
                <a:gd name="connsiteY16" fmla="*/ 692943 h 1285875"/>
                <a:gd name="connsiteX17" fmla="*/ 457200 w 881062"/>
                <a:gd name="connsiteY17" fmla="*/ 695325 h 1285875"/>
                <a:gd name="connsiteX18" fmla="*/ 511968 w 881062"/>
                <a:gd name="connsiteY18" fmla="*/ 635793 h 1285875"/>
                <a:gd name="connsiteX19" fmla="*/ 483393 w 881062"/>
                <a:gd name="connsiteY19" fmla="*/ 592931 h 1285875"/>
                <a:gd name="connsiteX20" fmla="*/ 571500 w 881062"/>
                <a:gd name="connsiteY20" fmla="*/ 554831 h 1285875"/>
                <a:gd name="connsiteX21" fmla="*/ 592931 w 881062"/>
                <a:gd name="connsiteY21" fmla="*/ 509587 h 1285875"/>
                <a:gd name="connsiteX22" fmla="*/ 626268 w 881062"/>
                <a:gd name="connsiteY22" fmla="*/ 507206 h 1285875"/>
                <a:gd name="connsiteX23" fmla="*/ 673893 w 881062"/>
                <a:gd name="connsiteY23" fmla="*/ 473868 h 1285875"/>
                <a:gd name="connsiteX24" fmla="*/ 747712 w 881062"/>
                <a:gd name="connsiteY24" fmla="*/ 464343 h 1285875"/>
                <a:gd name="connsiteX25" fmla="*/ 816768 w 881062"/>
                <a:gd name="connsiteY25" fmla="*/ 440531 h 1285875"/>
                <a:gd name="connsiteX26" fmla="*/ 809625 w 881062"/>
                <a:gd name="connsiteY26" fmla="*/ 295275 h 1285875"/>
                <a:gd name="connsiteX27" fmla="*/ 809625 w 881062"/>
                <a:gd name="connsiteY27" fmla="*/ 271462 h 1285875"/>
                <a:gd name="connsiteX28" fmla="*/ 864393 w 881062"/>
                <a:gd name="connsiteY28" fmla="*/ 216693 h 1285875"/>
                <a:gd name="connsiteX29" fmla="*/ 878681 w 881062"/>
                <a:gd name="connsiteY29" fmla="*/ 164306 h 1285875"/>
                <a:gd name="connsiteX30" fmla="*/ 881062 w 881062"/>
                <a:gd name="connsiteY30" fmla="*/ 119062 h 1285875"/>
                <a:gd name="connsiteX31" fmla="*/ 852487 w 881062"/>
                <a:gd name="connsiteY31" fmla="*/ 52387 h 1285875"/>
                <a:gd name="connsiteX32" fmla="*/ 840581 w 881062"/>
                <a:gd name="connsiteY32" fmla="*/ 45243 h 1285875"/>
                <a:gd name="connsiteX33" fmla="*/ 869156 w 881062"/>
                <a:gd name="connsiteY33" fmla="*/ 0 h 1285875"/>
                <a:gd name="connsiteX34" fmla="*/ 869156 w 881062"/>
                <a:gd name="connsiteY34" fmla="*/ 0 h 1285875"/>
                <a:gd name="connsiteX0" fmla="*/ 69056 w 904875"/>
                <a:gd name="connsiteY0" fmla="*/ 1285875 h 1285875"/>
                <a:gd name="connsiteX1" fmla="*/ 0 w 904875"/>
                <a:gd name="connsiteY1" fmla="*/ 1269206 h 1285875"/>
                <a:gd name="connsiteX2" fmla="*/ 9525 w 904875"/>
                <a:gd name="connsiteY2" fmla="*/ 1212056 h 1285875"/>
                <a:gd name="connsiteX3" fmla="*/ 0 w 904875"/>
                <a:gd name="connsiteY3" fmla="*/ 1193006 h 1285875"/>
                <a:gd name="connsiteX4" fmla="*/ 50006 w 904875"/>
                <a:gd name="connsiteY4" fmla="*/ 1162050 h 1285875"/>
                <a:gd name="connsiteX5" fmla="*/ 50006 w 904875"/>
                <a:gd name="connsiteY5" fmla="*/ 1078706 h 1285875"/>
                <a:gd name="connsiteX6" fmla="*/ 52387 w 904875"/>
                <a:gd name="connsiteY6" fmla="*/ 1059656 h 1285875"/>
                <a:gd name="connsiteX7" fmla="*/ 90487 w 904875"/>
                <a:gd name="connsiteY7" fmla="*/ 1035843 h 1285875"/>
                <a:gd name="connsiteX8" fmla="*/ 109537 w 904875"/>
                <a:gd name="connsiteY8" fmla="*/ 964406 h 1285875"/>
                <a:gd name="connsiteX9" fmla="*/ 116681 w 904875"/>
                <a:gd name="connsiteY9" fmla="*/ 926306 h 1285875"/>
                <a:gd name="connsiteX10" fmla="*/ 100012 w 904875"/>
                <a:gd name="connsiteY10" fmla="*/ 904875 h 1285875"/>
                <a:gd name="connsiteX11" fmla="*/ 223837 w 904875"/>
                <a:gd name="connsiteY11" fmla="*/ 845343 h 1285875"/>
                <a:gd name="connsiteX12" fmla="*/ 240506 w 904875"/>
                <a:gd name="connsiteY12" fmla="*/ 847725 h 1285875"/>
                <a:gd name="connsiteX13" fmla="*/ 295275 w 904875"/>
                <a:gd name="connsiteY13" fmla="*/ 762000 h 1285875"/>
                <a:gd name="connsiteX14" fmla="*/ 323850 w 904875"/>
                <a:gd name="connsiteY14" fmla="*/ 752475 h 1285875"/>
                <a:gd name="connsiteX15" fmla="*/ 381000 w 904875"/>
                <a:gd name="connsiteY15" fmla="*/ 716756 h 1285875"/>
                <a:gd name="connsiteX16" fmla="*/ 392906 w 904875"/>
                <a:gd name="connsiteY16" fmla="*/ 692943 h 1285875"/>
                <a:gd name="connsiteX17" fmla="*/ 457200 w 904875"/>
                <a:gd name="connsiteY17" fmla="*/ 695325 h 1285875"/>
                <a:gd name="connsiteX18" fmla="*/ 511968 w 904875"/>
                <a:gd name="connsiteY18" fmla="*/ 635793 h 1285875"/>
                <a:gd name="connsiteX19" fmla="*/ 483393 w 904875"/>
                <a:gd name="connsiteY19" fmla="*/ 592931 h 1285875"/>
                <a:gd name="connsiteX20" fmla="*/ 571500 w 904875"/>
                <a:gd name="connsiteY20" fmla="*/ 554831 h 1285875"/>
                <a:gd name="connsiteX21" fmla="*/ 592931 w 904875"/>
                <a:gd name="connsiteY21" fmla="*/ 509587 h 1285875"/>
                <a:gd name="connsiteX22" fmla="*/ 626268 w 904875"/>
                <a:gd name="connsiteY22" fmla="*/ 507206 h 1285875"/>
                <a:gd name="connsiteX23" fmla="*/ 673893 w 904875"/>
                <a:gd name="connsiteY23" fmla="*/ 473868 h 1285875"/>
                <a:gd name="connsiteX24" fmla="*/ 747712 w 904875"/>
                <a:gd name="connsiteY24" fmla="*/ 464343 h 1285875"/>
                <a:gd name="connsiteX25" fmla="*/ 816768 w 904875"/>
                <a:gd name="connsiteY25" fmla="*/ 440531 h 1285875"/>
                <a:gd name="connsiteX26" fmla="*/ 904875 w 904875"/>
                <a:gd name="connsiteY26" fmla="*/ 390525 h 1285875"/>
                <a:gd name="connsiteX27" fmla="*/ 809625 w 904875"/>
                <a:gd name="connsiteY27" fmla="*/ 271462 h 1285875"/>
                <a:gd name="connsiteX28" fmla="*/ 864393 w 904875"/>
                <a:gd name="connsiteY28" fmla="*/ 216693 h 1285875"/>
                <a:gd name="connsiteX29" fmla="*/ 878681 w 904875"/>
                <a:gd name="connsiteY29" fmla="*/ 164306 h 1285875"/>
                <a:gd name="connsiteX30" fmla="*/ 881062 w 904875"/>
                <a:gd name="connsiteY30" fmla="*/ 119062 h 1285875"/>
                <a:gd name="connsiteX31" fmla="*/ 852487 w 904875"/>
                <a:gd name="connsiteY31" fmla="*/ 52387 h 1285875"/>
                <a:gd name="connsiteX32" fmla="*/ 840581 w 904875"/>
                <a:gd name="connsiteY32" fmla="*/ 45243 h 1285875"/>
                <a:gd name="connsiteX33" fmla="*/ 869156 w 904875"/>
                <a:gd name="connsiteY33" fmla="*/ 0 h 1285875"/>
                <a:gd name="connsiteX34" fmla="*/ 869156 w 904875"/>
                <a:gd name="connsiteY34" fmla="*/ 0 h 1285875"/>
                <a:gd name="connsiteX0" fmla="*/ 69056 w 1012825"/>
                <a:gd name="connsiteY0" fmla="*/ 1285875 h 1285875"/>
                <a:gd name="connsiteX1" fmla="*/ 0 w 1012825"/>
                <a:gd name="connsiteY1" fmla="*/ 1269206 h 1285875"/>
                <a:gd name="connsiteX2" fmla="*/ 9525 w 1012825"/>
                <a:gd name="connsiteY2" fmla="*/ 1212056 h 1285875"/>
                <a:gd name="connsiteX3" fmla="*/ 0 w 1012825"/>
                <a:gd name="connsiteY3" fmla="*/ 1193006 h 1285875"/>
                <a:gd name="connsiteX4" fmla="*/ 50006 w 1012825"/>
                <a:gd name="connsiteY4" fmla="*/ 1162050 h 1285875"/>
                <a:gd name="connsiteX5" fmla="*/ 50006 w 1012825"/>
                <a:gd name="connsiteY5" fmla="*/ 1078706 h 1285875"/>
                <a:gd name="connsiteX6" fmla="*/ 52387 w 1012825"/>
                <a:gd name="connsiteY6" fmla="*/ 1059656 h 1285875"/>
                <a:gd name="connsiteX7" fmla="*/ 90487 w 1012825"/>
                <a:gd name="connsiteY7" fmla="*/ 1035843 h 1285875"/>
                <a:gd name="connsiteX8" fmla="*/ 109537 w 1012825"/>
                <a:gd name="connsiteY8" fmla="*/ 964406 h 1285875"/>
                <a:gd name="connsiteX9" fmla="*/ 116681 w 1012825"/>
                <a:gd name="connsiteY9" fmla="*/ 926306 h 1285875"/>
                <a:gd name="connsiteX10" fmla="*/ 100012 w 1012825"/>
                <a:gd name="connsiteY10" fmla="*/ 904875 h 1285875"/>
                <a:gd name="connsiteX11" fmla="*/ 223837 w 1012825"/>
                <a:gd name="connsiteY11" fmla="*/ 845343 h 1285875"/>
                <a:gd name="connsiteX12" fmla="*/ 240506 w 1012825"/>
                <a:gd name="connsiteY12" fmla="*/ 847725 h 1285875"/>
                <a:gd name="connsiteX13" fmla="*/ 295275 w 1012825"/>
                <a:gd name="connsiteY13" fmla="*/ 762000 h 1285875"/>
                <a:gd name="connsiteX14" fmla="*/ 323850 w 1012825"/>
                <a:gd name="connsiteY14" fmla="*/ 752475 h 1285875"/>
                <a:gd name="connsiteX15" fmla="*/ 381000 w 1012825"/>
                <a:gd name="connsiteY15" fmla="*/ 716756 h 1285875"/>
                <a:gd name="connsiteX16" fmla="*/ 392906 w 1012825"/>
                <a:gd name="connsiteY16" fmla="*/ 692943 h 1285875"/>
                <a:gd name="connsiteX17" fmla="*/ 457200 w 1012825"/>
                <a:gd name="connsiteY17" fmla="*/ 695325 h 1285875"/>
                <a:gd name="connsiteX18" fmla="*/ 511968 w 1012825"/>
                <a:gd name="connsiteY18" fmla="*/ 635793 h 1285875"/>
                <a:gd name="connsiteX19" fmla="*/ 483393 w 1012825"/>
                <a:gd name="connsiteY19" fmla="*/ 592931 h 1285875"/>
                <a:gd name="connsiteX20" fmla="*/ 571500 w 1012825"/>
                <a:gd name="connsiteY20" fmla="*/ 554831 h 1285875"/>
                <a:gd name="connsiteX21" fmla="*/ 592931 w 1012825"/>
                <a:gd name="connsiteY21" fmla="*/ 509587 h 1285875"/>
                <a:gd name="connsiteX22" fmla="*/ 626268 w 1012825"/>
                <a:gd name="connsiteY22" fmla="*/ 507206 h 1285875"/>
                <a:gd name="connsiteX23" fmla="*/ 673893 w 1012825"/>
                <a:gd name="connsiteY23" fmla="*/ 473868 h 1285875"/>
                <a:gd name="connsiteX24" fmla="*/ 747712 w 1012825"/>
                <a:gd name="connsiteY24" fmla="*/ 464343 h 1285875"/>
                <a:gd name="connsiteX25" fmla="*/ 816768 w 1012825"/>
                <a:gd name="connsiteY25" fmla="*/ 440531 h 1285875"/>
                <a:gd name="connsiteX26" fmla="*/ 904875 w 1012825"/>
                <a:gd name="connsiteY26" fmla="*/ 390525 h 1285875"/>
                <a:gd name="connsiteX27" fmla="*/ 1012825 w 1012825"/>
                <a:gd name="connsiteY27" fmla="*/ 363537 h 1285875"/>
                <a:gd name="connsiteX28" fmla="*/ 864393 w 1012825"/>
                <a:gd name="connsiteY28" fmla="*/ 216693 h 1285875"/>
                <a:gd name="connsiteX29" fmla="*/ 878681 w 1012825"/>
                <a:gd name="connsiteY29" fmla="*/ 164306 h 1285875"/>
                <a:gd name="connsiteX30" fmla="*/ 881062 w 1012825"/>
                <a:gd name="connsiteY30" fmla="*/ 119062 h 1285875"/>
                <a:gd name="connsiteX31" fmla="*/ 852487 w 1012825"/>
                <a:gd name="connsiteY31" fmla="*/ 52387 h 1285875"/>
                <a:gd name="connsiteX32" fmla="*/ 840581 w 1012825"/>
                <a:gd name="connsiteY32" fmla="*/ 45243 h 1285875"/>
                <a:gd name="connsiteX33" fmla="*/ 869156 w 1012825"/>
                <a:gd name="connsiteY33" fmla="*/ 0 h 1285875"/>
                <a:gd name="connsiteX34" fmla="*/ 869156 w 1012825"/>
                <a:gd name="connsiteY34" fmla="*/ 0 h 1285875"/>
                <a:gd name="connsiteX0" fmla="*/ 69056 w 1067593"/>
                <a:gd name="connsiteY0" fmla="*/ 1285875 h 1285875"/>
                <a:gd name="connsiteX1" fmla="*/ 0 w 1067593"/>
                <a:gd name="connsiteY1" fmla="*/ 1269206 h 1285875"/>
                <a:gd name="connsiteX2" fmla="*/ 9525 w 1067593"/>
                <a:gd name="connsiteY2" fmla="*/ 1212056 h 1285875"/>
                <a:gd name="connsiteX3" fmla="*/ 0 w 1067593"/>
                <a:gd name="connsiteY3" fmla="*/ 1193006 h 1285875"/>
                <a:gd name="connsiteX4" fmla="*/ 50006 w 1067593"/>
                <a:gd name="connsiteY4" fmla="*/ 1162050 h 1285875"/>
                <a:gd name="connsiteX5" fmla="*/ 50006 w 1067593"/>
                <a:gd name="connsiteY5" fmla="*/ 1078706 h 1285875"/>
                <a:gd name="connsiteX6" fmla="*/ 52387 w 1067593"/>
                <a:gd name="connsiteY6" fmla="*/ 1059656 h 1285875"/>
                <a:gd name="connsiteX7" fmla="*/ 90487 w 1067593"/>
                <a:gd name="connsiteY7" fmla="*/ 1035843 h 1285875"/>
                <a:gd name="connsiteX8" fmla="*/ 109537 w 1067593"/>
                <a:gd name="connsiteY8" fmla="*/ 964406 h 1285875"/>
                <a:gd name="connsiteX9" fmla="*/ 116681 w 1067593"/>
                <a:gd name="connsiteY9" fmla="*/ 926306 h 1285875"/>
                <a:gd name="connsiteX10" fmla="*/ 100012 w 1067593"/>
                <a:gd name="connsiteY10" fmla="*/ 904875 h 1285875"/>
                <a:gd name="connsiteX11" fmla="*/ 223837 w 1067593"/>
                <a:gd name="connsiteY11" fmla="*/ 845343 h 1285875"/>
                <a:gd name="connsiteX12" fmla="*/ 240506 w 1067593"/>
                <a:gd name="connsiteY12" fmla="*/ 847725 h 1285875"/>
                <a:gd name="connsiteX13" fmla="*/ 295275 w 1067593"/>
                <a:gd name="connsiteY13" fmla="*/ 762000 h 1285875"/>
                <a:gd name="connsiteX14" fmla="*/ 323850 w 1067593"/>
                <a:gd name="connsiteY14" fmla="*/ 752475 h 1285875"/>
                <a:gd name="connsiteX15" fmla="*/ 381000 w 1067593"/>
                <a:gd name="connsiteY15" fmla="*/ 716756 h 1285875"/>
                <a:gd name="connsiteX16" fmla="*/ 392906 w 1067593"/>
                <a:gd name="connsiteY16" fmla="*/ 692943 h 1285875"/>
                <a:gd name="connsiteX17" fmla="*/ 457200 w 1067593"/>
                <a:gd name="connsiteY17" fmla="*/ 695325 h 1285875"/>
                <a:gd name="connsiteX18" fmla="*/ 511968 w 1067593"/>
                <a:gd name="connsiteY18" fmla="*/ 635793 h 1285875"/>
                <a:gd name="connsiteX19" fmla="*/ 483393 w 1067593"/>
                <a:gd name="connsiteY19" fmla="*/ 592931 h 1285875"/>
                <a:gd name="connsiteX20" fmla="*/ 571500 w 1067593"/>
                <a:gd name="connsiteY20" fmla="*/ 554831 h 1285875"/>
                <a:gd name="connsiteX21" fmla="*/ 592931 w 1067593"/>
                <a:gd name="connsiteY21" fmla="*/ 509587 h 1285875"/>
                <a:gd name="connsiteX22" fmla="*/ 626268 w 1067593"/>
                <a:gd name="connsiteY22" fmla="*/ 507206 h 1285875"/>
                <a:gd name="connsiteX23" fmla="*/ 673893 w 1067593"/>
                <a:gd name="connsiteY23" fmla="*/ 473868 h 1285875"/>
                <a:gd name="connsiteX24" fmla="*/ 747712 w 1067593"/>
                <a:gd name="connsiteY24" fmla="*/ 464343 h 1285875"/>
                <a:gd name="connsiteX25" fmla="*/ 816768 w 1067593"/>
                <a:gd name="connsiteY25" fmla="*/ 440531 h 1285875"/>
                <a:gd name="connsiteX26" fmla="*/ 904875 w 1067593"/>
                <a:gd name="connsiteY26" fmla="*/ 390525 h 1285875"/>
                <a:gd name="connsiteX27" fmla="*/ 1012825 w 1067593"/>
                <a:gd name="connsiteY27" fmla="*/ 363537 h 1285875"/>
                <a:gd name="connsiteX28" fmla="*/ 1067593 w 1067593"/>
                <a:gd name="connsiteY28" fmla="*/ 388143 h 1285875"/>
                <a:gd name="connsiteX29" fmla="*/ 878681 w 1067593"/>
                <a:gd name="connsiteY29" fmla="*/ 164306 h 1285875"/>
                <a:gd name="connsiteX30" fmla="*/ 881062 w 1067593"/>
                <a:gd name="connsiteY30" fmla="*/ 119062 h 1285875"/>
                <a:gd name="connsiteX31" fmla="*/ 852487 w 1067593"/>
                <a:gd name="connsiteY31" fmla="*/ 52387 h 1285875"/>
                <a:gd name="connsiteX32" fmla="*/ 840581 w 1067593"/>
                <a:gd name="connsiteY32" fmla="*/ 45243 h 1285875"/>
                <a:gd name="connsiteX33" fmla="*/ 869156 w 1067593"/>
                <a:gd name="connsiteY33" fmla="*/ 0 h 1285875"/>
                <a:gd name="connsiteX34" fmla="*/ 869156 w 1067593"/>
                <a:gd name="connsiteY34" fmla="*/ 0 h 1285875"/>
                <a:gd name="connsiteX0" fmla="*/ 69056 w 1100931"/>
                <a:gd name="connsiteY0" fmla="*/ 1285875 h 1285875"/>
                <a:gd name="connsiteX1" fmla="*/ 0 w 1100931"/>
                <a:gd name="connsiteY1" fmla="*/ 1269206 h 1285875"/>
                <a:gd name="connsiteX2" fmla="*/ 9525 w 1100931"/>
                <a:gd name="connsiteY2" fmla="*/ 1212056 h 1285875"/>
                <a:gd name="connsiteX3" fmla="*/ 0 w 1100931"/>
                <a:gd name="connsiteY3" fmla="*/ 1193006 h 1285875"/>
                <a:gd name="connsiteX4" fmla="*/ 50006 w 1100931"/>
                <a:gd name="connsiteY4" fmla="*/ 1162050 h 1285875"/>
                <a:gd name="connsiteX5" fmla="*/ 50006 w 1100931"/>
                <a:gd name="connsiteY5" fmla="*/ 1078706 h 1285875"/>
                <a:gd name="connsiteX6" fmla="*/ 52387 w 1100931"/>
                <a:gd name="connsiteY6" fmla="*/ 1059656 h 1285875"/>
                <a:gd name="connsiteX7" fmla="*/ 90487 w 1100931"/>
                <a:gd name="connsiteY7" fmla="*/ 1035843 h 1285875"/>
                <a:gd name="connsiteX8" fmla="*/ 109537 w 1100931"/>
                <a:gd name="connsiteY8" fmla="*/ 964406 h 1285875"/>
                <a:gd name="connsiteX9" fmla="*/ 116681 w 1100931"/>
                <a:gd name="connsiteY9" fmla="*/ 926306 h 1285875"/>
                <a:gd name="connsiteX10" fmla="*/ 100012 w 1100931"/>
                <a:gd name="connsiteY10" fmla="*/ 904875 h 1285875"/>
                <a:gd name="connsiteX11" fmla="*/ 223837 w 1100931"/>
                <a:gd name="connsiteY11" fmla="*/ 845343 h 1285875"/>
                <a:gd name="connsiteX12" fmla="*/ 240506 w 1100931"/>
                <a:gd name="connsiteY12" fmla="*/ 847725 h 1285875"/>
                <a:gd name="connsiteX13" fmla="*/ 295275 w 1100931"/>
                <a:gd name="connsiteY13" fmla="*/ 762000 h 1285875"/>
                <a:gd name="connsiteX14" fmla="*/ 323850 w 1100931"/>
                <a:gd name="connsiteY14" fmla="*/ 752475 h 1285875"/>
                <a:gd name="connsiteX15" fmla="*/ 381000 w 1100931"/>
                <a:gd name="connsiteY15" fmla="*/ 716756 h 1285875"/>
                <a:gd name="connsiteX16" fmla="*/ 392906 w 1100931"/>
                <a:gd name="connsiteY16" fmla="*/ 692943 h 1285875"/>
                <a:gd name="connsiteX17" fmla="*/ 457200 w 1100931"/>
                <a:gd name="connsiteY17" fmla="*/ 695325 h 1285875"/>
                <a:gd name="connsiteX18" fmla="*/ 511968 w 1100931"/>
                <a:gd name="connsiteY18" fmla="*/ 635793 h 1285875"/>
                <a:gd name="connsiteX19" fmla="*/ 483393 w 1100931"/>
                <a:gd name="connsiteY19" fmla="*/ 592931 h 1285875"/>
                <a:gd name="connsiteX20" fmla="*/ 571500 w 1100931"/>
                <a:gd name="connsiteY20" fmla="*/ 554831 h 1285875"/>
                <a:gd name="connsiteX21" fmla="*/ 592931 w 1100931"/>
                <a:gd name="connsiteY21" fmla="*/ 509587 h 1285875"/>
                <a:gd name="connsiteX22" fmla="*/ 626268 w 1100931"/>
                <a:gd name="connsiteY22" fmla="*/ 507206 h 1285875"/>
                <a:gd name="connsiteX23" fmla="*/ 673893 w 1100931"/>
                <a:gd name="connsiteY23" fmla="*/ 473868 h 1285875"/>
                <a:gd name="connsiteX24" fmla="*/ 747712 w 1100931"/>
                <a:gd name="connsiteY24" fmla="*/ 464343 h 1285875"/>
                <a:gd name="connsiteX25" fmla="*/ 816768 w 1100931"/>
                <a:gd name="connsiteY25" fmla="*/ 440531 h 1285875"/>
                <a:gd name="connsiteX26" fmla="*/ 904875 w 1100931"/>
                <a:gd name="connsiteY26" fmla="*/ 390525 h 1285875"/>
                <a:gd name="connsiteX27" fmla="*/ 1012825 w 1100931"/>
                <a:gd name="connsiteY27" fmla="*/ 363537 h 1285875"/>
                <a:gd name="connsiteX28" fmla="*/ 1067593 w 1100931"/>
                <a:gd name="connsiteY28" fmla="*/ 388143 h 1285875"/>
                <a:gd name="connsiteX29" fmla="*/ 1100931 w 1100931"/>
                <a:gd name="connsiteY29" fmla="*/ 354806 h 1285875"/>
                <a:gd name="connsiteX30" fmla="*/ 881062 w 1100931"/>
                <a:gd name="connsiteY30" fmla="*/ 119062 h 1285875"/>
                <a:gd name="connsiteX31" fmla="*/ 852487 w 1100931"/>
                <a:gd name="connsiteY31" fmla="*/ 52387 h 1285875"/>
                <a:gd name="connsiteX32" fmla="*/ 840581 w 1100931"/>
                <a:gd name="connsiteY32" fmla="*/ 45243 h 1285875"/>
                <a:gd name="connsiteX33" fmla="*/ 869156 w 1100931"/>
                <a:gd name="connsiteY33" fmla="*/ 0 h 1285875"/>
                <a:gd name="connsiteX34" fmla="*/ 869156 w 1100931"/>
                <a:gd name="connsiteY34" fmla="*/ 0 h 1285875"/>
                <a:gd name="connsiteX0" fmla="*/ 69056 w 1217612"/>
                <a:gd name="connsiteY0" fmla="*/ 1285875 h 1285875"/>
                <a:gd name="connsiteX1" fmla="*/ 0 w 1217612"/>
                <a:gd name="connsiteY1" fmla="*/ 1269206 h 1285875"/>
                <a:gd name="connsiteX2" fmla="*/ 9525 w 1217612"/>
                <a:gd name="connsiteY2" fmla="*/ 1212056 h 1285875"/>
                <a:gd name="connsiteX3" fmla="*/ 0 w 1217612"/>
                <a:gd name="connsiteY3" fmla="*/ 1193006 h 1285875"/>
                <a:gd name="connsiteX4" fmla="*/ 50006 w 1217612"/>
                <a:gd name="connsiteY4" fmla="*/ 1162050 h 1285875"/>
                <a:gd name="connsiteX5" fmla="*/ 50006 w 1217612"/>
                <a:gd name="connsiteY5" fmla="*/ 1078706 h 1285875"/>
                <a:gd name="connsiteX6" fmla="*/ 52387 w 1217612"/>
                <a:gd name="connsiteY6" fmla="*/ 1059656 h 1285875"/>
                <a:gd name="connsiteX7" fmla="*/ 90487 w 1217612"/>
                <a:gd name="connsiteY7" fmla="*/ 1035843 h 1285875"/>
                <a:gd name="connsiteX8" fmla="*/ 109537 w 1217612"/>
                <a:gd name="connsiteY8" fmla="*/ 964406 h 1285875"/>
                <a:gd name="connsiteX9" fmla="*/ 116681 w 1217612"/>
                <a:gd name="connsiteY9" fmla="*/ 926306 h 1285875"/>
                <a:gd name="connsiteX10" fmla="*/ 100012 w 1217612"/>
                <a:gd name="connsiteY10" fmla="*/ 904875 h 1285875"/>
                <a:gd name="connsiteX11" fmla="*/ 223837 w 1217612"/>
                <a:gd name="connsiteY11" fmla="*/ 845343 h 1285875"/>
                <a:gd name="connsiteX12" fmla="*/ 240506 w 1217612"/>
                <a:gd name="connsiteY12" fmla="*/ 847725 h 1285875"/>
                <a:gd name="connsiteX13" fmla="*/ 295275 w 1217612"/>
                <a:gd name="connsiteY13" fmla="*/ 762000 h 1285875"/>
                <a:gd name="connsiteX14" fmla="*/ 323850 w 1217612"/>
                <a:gd name="connsiteY14" fmla="*/ 752475 h 1285875"/>
                <a:gd name="connsiteX15" fmla="*/ 381000 w 1217612"/>
                <a:gd name="connsiteY15" fmla="*/ 716756 h 1285875"/>
                <a:gd name="connsiteX16" fmla="*/ 392906 w 1217612"/>
                <a:gd name="connsiteY16" fmla="*/ 692943 h 1285875"/>
                <a:gd name="connsiteX17" fmla="*/ 457200 w 1217612"/>
                <a:gd name="connsiteY17" fmla="*/ 695325 h 1285875"/>
                <a:gd name="connsiteX18" fmla="*/ 511968 w 1217612"/>
                <a:gd name="connsiteY18" fmla="*/ 635793 h 1285875"/>
                <a:gd name="connsiteX19" fmla="*/ 483393 w 1217612"/>
                <a:gd name="connsiteY19" fmla="*/ 592931 h 1285875"/>
                <a:gd name="connsiteX20" fmla="*/ 571500 w 1217612"/>
                <a:gd name="connsiteY20" fmla="*/ 554831 h 1285875"/>
                <a:gd name="connsiteX21" fmla="*/ 592931 w 1217612"/>
                <a:gd name="connsiteY21" fmla="*/ 509587 h 1285875"/>
                <a:gd name="connsiteX22" fmla="*/ 626268 w 1217612"/>
                <a:gd name="connsiteY22" fmla="*/ 507206 h 1285875"/>
                <a:gd name="connsiteX23" fmla="*/ 673893 w 1217612"/>
                <a:gd name="connsiteY23" fmla="*/ 473868 h 1285875"/>
                <a:gd name="connsiteX24" fmla="*/ 747712 w 1217612"/>
                <a:gd name="connsiteY24" fmla="*/ 464343 h 1285875"/>
                <a:gd name="connsiteX25" fmla="*/ 816768 w 1217612"/>
                <a:gd name="connsiteY25" fmla="*/ 440531 h 1285875"/>
                <a:gd name="connsiteX26" fmla="*/ 904875 w 1217612"/>
                <a:gd name="connsiteY26" fmla="*/ 390525 h 1285875"/>
                <a:gd name="connsiteX27" fmla="*/ 1012825 w 1217612"/>
                <a:gd name="connsiteY27" fmla="*/ 363537 h 1285875"/>
                <a:gd name="connsiteX28" fmla="*/ 1067593 w 1217612"/>
                <a:gd name="connsiteY28" fmla="*/ 388143 h 1285875"/>
                <a:gd name="connsiteX29" fmla="*/ 1100931 w 1217612"/>
                <a:gd name="connsiteY29" fmla="*/ 354806 h 1285875"/>
                <a:gd name="connsiteX30" fmla="*/ 1217612 w 1217612"/>
                <a:gd name="connsiteY30" fmla="*/ 369887 h 1285875"/>
                <a:gd name="connsiteX31" fmla="*/ 852487 w 1217612"/>
                <a:gd name="connsiteY31" fmla="*/ 52387 h 1285875"/>
                <a:gd name="connsiteX32" fmla="*/ 840581 w 1217612"/>
                <a:gd name="connsiteY32" fmla="*/ 45243 h 1285875"/>
                <a:gd name="connsiteX33" fmla="*/ 869156 w 1217612"/>
                <a:gd name="connsiteY33" fmla="*/ 0 h 1285875"/>
                <a:gd name="connsiteX34" fmla="*/ 869156 w 1217612"/>
                <a:gd name="connsiteY34" fmla="*/ 0 h 1285875"/>
                <a:gd name="connsiteX0" fmla="*/ 69056 w 1217612"/>
                <a:gd name="connsiteY0" fmla="*/ 1345407 h 1345407"/>
                <a:gd name="connsiteX1" fmla="*/ 0 w 1217612"/>
                <a:gd name="connsiteY1" fmla="*/ 1328738 h 1345407"/>
                <a:gd name="connsiteX2" fmla="*/ 9525 w 1217612"/>
                <a:gd name="connsiteY2" fmla="*/ 1271588 h 1345407"/>
                <a:gd name="connsiteX3" fmla="*/ 0 w 1217612"/>
                <a:gd name="connsiteY3" fmla="*/ 1252538 h 1345407"/>
                <a:gd name="connsiteX4" fmla="*/ 50006 w 1217612"/>
                <a:gd name="connsiteY4" fmla="*/ 1221582 h 1345407"/>
                <a:gd name="connsiteX5" fmla="*/ 50006 w 1217612"/>
                <a:gd name="connsiteY5" fmla="*/ 1138238 h 1345407"/>
                <a:gd name="connsiteX6" fmla="*/ 52387 w 1217612"/>
                <a:gd name="connsiteY6" fmla="*/ 1119188 h 1345407"/>
                <a:gd name="connsiteX7" fmla="*/ 90487 w 1217612"/>
                <a:gd name="connsiteY7" fmla="*/ 1095375 h 1345407"/>
                <a:gd name="connsiteX8" fmla="*/ 109537 w 1217612"/>
                <a:gd name="connsiteY8" fmla="*/ 1023938 h 1345407"/>
                <a:gd name="connsiteX9" fmla="*/ 116681 w 1217612"/>
                <a:gd name="connsiteY9" fmla="*/ 985838 h 1345407"/>
                <a:gd name="connsiteX10" fmla="*/ 100012 w 1217612"/>
                <a:gd name="connsiteY10" fmla="*/ 964407 h 1345407"/>
                <a:gd name="connsiteX11" fmla="*/ 223837 w 1217612"/>
                <a:gd name="connsiteY11" fmla="*/ 904875 h 1345407"/>
                <a:gd name="connsiteX12" fmla="*/ 240506 w 1217612"/>
                <a:gd name="connsiteY12" fmla="*/ 907257 h 1345407"/>
                <a:gd name="connsiteX13" fmla="*/ 295275 w 1217612"/>
                <a:gd name="connsiteY13" fmla="*/ 821532 h 1345407"/>
                <a:gd name="connsiteX14" fmla="*/ 323850 w 1217612"/>
                <a:gd name="connsiteY14" fmla="*/ 812007 h 1345407"/>
                <a:gd name="connsiteX15" fmla="*/ 381000 w 1217612"/>
                <a:gd name="connsiteY15" fmla="*/ 776288 h 1345407"/>
                <a:gd name="connsiteX16" fmla="*/ 392906 w 1217612"/>
                <a:gd name="connsiteY16" fmla="*/ 752475 h 1345407"/>
                <a:gd name="connsiteX17" fmla="*/ 457200 w 1217612"/>
                <a:gd name="connsiteY17" fmla="*/ 754857 h 1345407"/>
                <a:gd name="connsiteX18" fmla="*/ 511968 w 1217612"/>
                <a:gd name="connsiteY18" fmla="*/ 695325 h 1345407"/>
                <a:gd name="connsiteX19" fmla="*/ 483393 w 1217612"/>
                <a:gd name="connsiteY19" fmla="*/ 652463 h 1345407"/>
                <a:gd name="connsiteX20" fmla="*/ 571500 w 1217612"/>
                <a:gd name="connsiteY20" fmla="*/ 614363 h 1345407"/>
                <a:gd name="connsiteX21" fmla="*/ 592931 w 1217612"/>
                <a:gd name="connsiteY21" fmla="*/ 569119 h 1345407"/>
                <a:gd name="connsiteX22" fmla="*/ 626268 w 1217612"/>
                <a:gd name="connsiteY22" fmla="*/ 566738 h 1345407"/>
                <a:gd name="connsiteX23" fmla="*/ 673893 w 1217612"/>
                <a:gd name="connsiteY23" fmla="*/ 533400 h 1345407"/>
                <a:gd name="connsiteX24" fmla="*/ 747712 w 1217612"/>
                <a:gd name="connsiteY24" fmla="*/ 523875 h 1345407"/>
                <a:gd name="connsiteX25" fmla="*/ 816768 w 1217612"/>
                <a:gd name="connsiteY25" fmla="*/ 500063 h 1345407"/>
                <a:gd name="connsiteX26" fmla="*/ 904875 w 1217612"/>
                <a:gd name="connsiteY26" fmla="*/ 450057 h 1345407"/>
                <a:gd name="connsiteX27" fmla="*/ 1012825 w 1217612"/>
                <a:gd name="connsiteY27" fmla="*/ 423069 h 1345407"/>
                <a:gd name="connsiteX28" fmla="*/ 1067593 w 1217612"/>
                <a:gd name="connsiteY28" fmla="*/ 447675 h 1345407"/>
                <a:gd name="connsiteX29" fmla="*/ 1100931 w 1217612"/>
                <a:gd name="connsiteY29" fmla="*/ 414338 h 1345407"/>
                <a:gd name="connsiteX30" fmla="*/ 1217612 w 1217612"/>
                <a:gd name="connsiteY30" fmla="*/ 429419 h 1345407"/>
                <a:gd name="connsiteX31" fmla="*/ 852487 w 1217612"/>
                <a:gd name="connsiteY31" fmla="*/ 111919 h 1345407"/>
                <a:gd name="connsiteX32" fmla="*/ 980281 w 1217612"/>
                <a:gd name="connsiteY32" fmla="*/ 0 h 1345407"/>
                <a:gd name="connsiteX33" fmla="*/ 869156 w 1217612"/>
                <a:gd name="connsiteY33" fmla="*/ 59532 h 1345407"/>
                <a:gd name="connsiteX34" fmla="*/ 869156 w 1217612"/>
                <a:gd name="connsiteY34" fmla="*/ 59532 h 1345407"/>
                <a:gd name="connsiteX0" fmla="*/ 69056 w 1236662"/>
                <a:gd name="connsiteY0" fmla="*/ 1345407 h 1345407"/>
                <a:gd name="connsiteX1" fmla="*/ 0 w 1236662"/>
                <a:gd name="connsiteY1" fmla="*/ 1328738 h 1345407"/>
                <a:gd name="connsiteX2" fmla="*/ 9525 w 1236662"/>
                <a:gd name="connsiteY2" fmla="*/ 1271588 h 1345407"/>
                <a:gd name="connsiteX3" fmla="*/ 0 w 1236662"/>
                <a:gd name="connsiteY3" fmla="*/ 1252538 h 1345407"/>
                <a:gd name="connsiteX4" fmla="*/ 50006 w 1236662"/>
                <a:gd name="connsiteY4" fmla="*/ 1221582 h 1345407"/>
                <a:gd name="connsiteX5" fmla="*/ 50006 w 1236662"/>
                <a:gd name="connsiteY5" fmla="*/ 1138238 h 1345407"/>
                <a:gd name="connsiteX6" fmla="*/ 52387 w 1236662"/>
                <a:gd name="connsiteY6" fmla="*/ 1119188 h 1345407"/>
                <a:gd name="connsiteX7" fmla="*/ 90487 w 1236662"/>
                <a:gd name="connsiteY7" fmla="*/ 1095375 h 1345407"/>
                <a:gd name="connsiteX8" fmla="*/ 109537 w 1236662"/>
                <a:gd name="connsiteY8" fmla="*/ 1023938 h 1345407"/>
                <a:gd name="connsiteX9" fmla="*/ 116681 w 1236662"/>
                <a:gd name="connsiteY9" fmla="*/ 985838 h 1345407"/>
                <a:gd name="connsiteX10" fmla="*/ 100012 w 1236662"/>
                <a:gd name="connsiteY10" fmla="*/ 964407 h 1345407"/>
                <a:gd name="connsiteX11" fmla="*/ 223837 w 1236662"/>
                <a:gd name="connsiteY11" fmla="*/ 904875 h 1345407"/>
                <a:gd name="connsiteX12" fmla="*/ 240506 w 1236662"/>
                <a:gd name="connsiteY12" fmla="*/ 907257 h 1345407"/>
                <a:gd name="connsiteX13" fmla="*/ 295275 w 1236662"/>
                <a:gd name="connsiteY13" fmla="*/ 821532 h 1345407"/>
                <a:gd name="connsiteX14" fmla="*/ 323850 w 1236662"/>
                <a:gd name="connsiteY14" fmla="*/ 812007 h 1345407"/>
                <a:gd name="connsiteX15" fmla="*/ 381000 w 1236662"/>
                <a:gd name="connsiteY15" fmla="*/ 776288 h 1345407"/>
                <a:gd name="connsiteX16" fmla="*/ 392906 w 1236662"/>
                <a:gd name="connsiteY16" fmla="*/ 752475 h 1345407"/>
                <a:gd name="connsiteX17" fmla="*/ 457200 w 1236662"/>
                <a:gd name="connsiteY17" fmla="*/ 754857 h 1345407"/>
                <a:gd name="connsiteX18" fmla="*/ 511968 w 1236662"/>
                <a:gd name="connsiteY18" fmla="*/ 695325 h 1345407"/>
                <a:gd name="connsiteX19" fmla="*/ 483393 w 1236662"/>
                <a:gd name="connsiteY19" fmla="*/ 652463 h 1345407"/>
                <a:gd name="connsiteX20" fmla="*/ 571500 w 1236662"/>
                <a:gd name="connsiteY20" fmla="*/ 614363 h 1345407"/>
                <a:gd name="connsiteX21" fmla="*/ 592931 w 1236662"/>
                <a:gd name="connsiteY21" fmla="*/ 569119 h 1345407"/>
                <a:gd name="connsiteX22" fmla="*/ 626268 w 1236662"/>
                <a:gd name="connsiteY22" fmla="*/ 566738 h 1345407"/>
                <a:gd name="connsiteX23" fmla="*/ 673893 w 1236662"/>
                <a:gd name="connsiteY23" fmla="*/ 533400 h 1345407"/>
                <a:gd name="connsiteX24" fmla="*/ 747712 w 1236662"/>
                <a:gd name="connsiteY24" fmla="*/ 523875 h 1345407"/>
                <a:gd name="connsiteX25" fmla="*/ 816768 w 1236662"/>
                <a:gd name="connsiteY25" fmla="*/ 500063 h 1345407"/>
                <a:gd name="connsiteX26" fmla="*/ 904875 w 1236662"/>
                <a:gd name="connsiteY26" fmla="*/ 450057 h 1345407"/>
                <a:gd name="connsiteX27" fmla="*/ 1012825 w 1236662"/>
                <a:gd name="connsiteY27" fmla="*/ 423069 h 1345407"/>
                <a:gd name="connsiteX28" fmla="*/ 1067593 w 1236662"/>
                <a:gd name="connsiteY28" fmla="*/ 447675 h 1345407"/>
                <a:gd name="connsiteX29" fmla="*/ 1100931 w 1236662"/>
                <a:gd name="connsiteY29" fmla="*/ 414338 h 1345407"/>
                <a:gd name="connsiteX30" fmla="*/ 1217612 w 1236662"/>
                <a:gd name="connsiteY30" fmla="*/ 429419 h 1345407"/>
                <a:gd name="connsiteX31" fmla="*/ 1236662 w 1236662"/>
                <a:gd name="connsiteY31" fmla="*/ 404019 h 1345407"/>
                <a:gd name="connsiteX32" fmla="*/ 980281 w 1236662"/>
                <a:gd name="connsiteY32" fmla="*/ 0 h 1345407"/>
                <a:gd name="connsiteX33" fmla="*/ 869156 w 1236662"/>
                <a:gd name="connsiteY33" fmla="*/ 59532 h 1345407"/>
                <a:gd name="connsiteX34" fmla="*/ 869156 w 1236662"/>
                <a:gd name="connsiteY34" fmla="*/ 59532 h 1345407"/>
                <a:gd name="connsiteX0" fmla="*/ 69056 w 1293812"/>
                <a:gd name="connsiteY0" fmla="*/ 1345407 h 1345407"/>
                <a:gd name="connsiteX1" fmla="*/ 0 w 1293812"/>
                <a:gd name="connsiteY1" fmla="*/ 1328738 h 1345407"/>
                <a:gd name="connsiteX2" fmla="*/ 9525 w 1293812"/>
                <a:gd name="connsiteY2" fmla="*/ 1271588 h 1345407"/>
                <a:gd name="connsiteX3" fmla="*/ 0 w 1293812"/>
                <a:gd name="connsiteY3" fmla="*/ 1252538 h 1345407"/>
                <a:gd name="connsiteX4" fmla="*/ 50006 w 1293812"/>
                <a:gd name="connsiteY4" fmla="*/ 1221582 h 1345407"/>
                <a:gd name="connsiteX5" fmla="*/ 50006 w 1293812"/>
                <a:gd name="connsiteY5" fmla="*/ 1138238 h 1345407"/>
                <a:gd name="connsiteX6" fmla="*/ 52387 w 1293812"/>
                <a:gd name="connsiteY6" fmla="*/ 1119188 h 1345407"/>
                <a:gd name="connsiteX7" fmla="*/ 90487 w 1293812"/>
                <a:gd name="connsiteY7" fmla="*/ 1095375 h 1345407"/>
                <a:gd name="connsiteX8" fmla="*/ 109537 w 1293812"/>
                <a:gd name="connsiteY8" fmla="*/ 1023938 h 1345407"/>
                <a:gd name="connsiteX9" fmla="*/ 116681 w 1293812"/>
                <a:gd name="connsiteY9" fmla="*/ 985838 h 1345407"/>
                <a:gd name="connsiteX10" fmla="*/ 100012 w 1293812"/>
                <a:gd name="connsiteY10" fmla="*/ 964407 h 1345407"/>
                <a:gd name="connsiteX11" fmla="*/ 223837 w 1293812"/>
                <a:gd name="connsiteY11" fmla="*/ 904875 h 1345407"/>
                <a:gd name="connsiteX12" fmla="*/ 240506 w 1293812"/>
                <a:gd name="connsiteY12" fmla="*/ 907257 h 1345407"/>
                <a:gd name="connsiteX13" fmla="*/ 295275 w 1293812"/>
                <a:gd name="connsiteY13" fmla="*/ 821532 h 1345407"/>
                <a:gd name="connsiteX14" fmla="*/ 323850 w 1293812"/>
                <a:gd name="connsiteY14" fmla="*/ 812007 h 1345407"/>
                <a:gd name="connsiteX15" fmla="*/ 381000 w 1293812"/>
                <a:gd name="connsiteY15" fmla="*/ 776288 h 1345407"/>
                <a:gd name="connsiteX16" fmla="*/ 392906 w 1293812"/>
                <a:gd name="connsiteY16" fmla="*/ 752475 h 1345407"/>
                <a:gd name="connsiteX17" fmla="*/ 457200 w 1293812"/>
                <a:gd name="connsiteY17" fmla="*/ 754857 h 1345407"/>
                <a:gd name="connsiteX18" fmla="*/ 511968 w 1293812"/>
                <a:gd name="connsiteY18" fmla="*/ 695325 h 1345407"/>
                <a:gd name="connsiteX19" fmla="*/ 483393 w 1293812"/>
                <a:gd name="connsiteY19" fmla="*/ 652463 h 1345407"/>
                <a:gd name="connsiteX20" fmla="*/ 571500 w 1293812"/>
                <a:gd name="connsiteY20" fmla="*/ 614363 h 1345407"/>
                <a:gd name="connsiteX21" fmla="*/ 592931 w 1293812"/>
                <a:gd name="connsiteY21" fmla="*/ 569119 h 1345407"/>
                <a:gd name="connsiteX22" fmla="*/ 626268 w 1293812"/>
                <a:gd name="connsiteY22" fmla="*/ 566738 h 1345407"/>
                <a:gd name="connsiteX23" fmla="*/ 673893 w 1293812"/>
                <a:gd name="connsiteY23" fmla="*/ 533400 h 1345407"/>
                <a:gd name="connsiteX24" fmla="*/ 747712 w 1293812"/>
                <a:gd name="connsiteY24" fmla="*/ 523875 h 1345407"/>
                <a:gd name="connsiteX25" fmla="*/ 816768 w 1293812"/>
                <a:gd name="connsiteY25" fmla="*/ 500063 h 1345407"/>
                <a:gd name="connsiteX26" fmla="*/ 904875 w 1293812"/>
                <a:gd name="connsiteY26" fmla="*/ 450057 h 1345407"/>
                <a:gd name="connsiteX27" fmla="*/ 1012825 w 1293812"/>
                <a:gd name="connsiteY27" fmla="*/ 423069 h 1345407"/>
                <a:gd name="connsiteX28" fmla="*/ 1067593 w 1293812"/>
                <a:gd name="connsiteY28" fmla="*/ 447675 h 1345407"/>
                <a:gd name="connsiteX29" fmla="*/ 1100931 w 1293812"/>
                <a:gd name="connsiteY29" fmla="*/ 414338 h 1345407"/>
                <a:gd name="connsiteX30" fmla="*/ 1217612 w 1293812"/>
                <a:gd name="connsiteY30" fmla="*/ 429419 h 1345407"/>
                <a:gd name="connsiteX31" fmla="*/ 1293812 w 1293812"/>
                <a:gd name="connsiteY31" fmla="*/ 426244 h 1345407"/>
                <a:gd name="connsiteX32" fmla="*/ 980281 w 1293812"/>
                <a:gd name="connsiteY32" fmla="*/ 0 h 1345407"/>
                <a:gd name="connsiteX33" fmla="*/ 869156 w 1293812"/>
                <a:gd name="connsiteY33" fmla="*/ 59532 h 1345407"/>
                <a:gd name="connsiteX34" fmla="*/ 869156 w 1293812"/>
                <a:gd name="connsiteY34" fmla="*/ 59532 h 1345407"/>
                <a:gd name="connsiteX0" fmla="*/ 69056 w 1373981"/>
                <a:gd name="connsiteY0" fmla="*/ 1285875 h 1285875"/>
                <a:gd name="connsiteX1" fmla="*/ 0 w 1373981"/>
                <a:gd name="connsiteY1" fmla="*/ 1269206 h 1285875"/>
                <a:gd name="connsiteX2" fmla="*/ 9525 w 1373981"/>
                <a:gd name="connsiteY2" fmla="*/ 1212056 h 1285875"/>
                <a:gd name="connsiteX3" fmla="*/ 0 w 1373981"/>
                <a:gd name="connsiteY3" fmla="*/ 1193006 h 1285875"/>
                <a:gd name="connsiteX4" fmla="*/ 50006 w 1373981"/>
                <a:gd name="connsiteY4" fmla="*/ 1162050 h 1285875"/>
                <a:gd name="connsiteX5" fmla="*/ 50006 w 1373981"/>
                <a:gd name="connsiteY5" fmla="*/ 1078706 h 1285875"/>
                <a:gd name="connsiteX6" fmla="*/ 52387 w 1373981"/>
                <a:gd name="connsiteY6" fmla="*/ 1059656 h 1285875"/>
                <a:gd name="connsiteX7" fmla="*/ 90487 w 1373981"/>
                <a:gd name="connsiteY7" fmla="*/ 1035843 h 1285875"/>
                <a:gd name="connsiteX8" fmla="*/ 109537 w 1373981"/>
                <a:gd name="connsiteY8" fmla="*/ 964406 h 1285875"/>
                <a:gd name="connsiteX9" fmla="*/ 116681 w 1373981"/>
                <a:gd name="connsiteY9" fmla="*/ 926306 h 1285875"/>
                <a:gd name="connsiteX10" fmla="*/ 100012 w 1373981"/>
                <a:gd name="connsiteY10" fmla="*/ 904875 h 1285875"/>
                <a:gd name="connsiteX11" fmla="*/ 223837 w 1373981"/>
                <a:gd name="connsiteY11" fmla="*/ 845343 h 1285875"/>
                <a:gd name="connsiteX12" fmla="*/ 240506 w 1373981"/>
                <a:gd name="connsiteY12" fmla="*/ 847725 h 1285875"/>
                <a:gd name="connsiteX13" fmla="*/ 295275 w 1373981"/>
                <a:gd name="connsiteY13" fmla="*/ 762000 h 1285875"/>
                <a:gd name="connsiteX14" fmla="*/ 323850 w 1373981"/>
                <a:gd name="connsiteY14" fmla="*/ 752475 h 1285875"/>
                <a:gd name="connsiteX15" fmla="*/ 381000 w 1373981"/>
                <a:gd name="connsiteY15" fmla="*/ 716756 h 1285875"/>
                <a:gd name="connsiteX16" fmla="*/ 392906 w 1373981"/>
                <a:gd name="connsiteY16" fmla="*/ 692943 h 1285875"/>
                <a:gd name="connsiteX17" fmla="*/ 457200 w 1373981"/>
                <a:gd name="connsiteY17" fmla="*/ 695325 h 1285875"/>
                <a:gd name="connsiteX18" fmla="*/ 511968 w 1373981"/>
                <a:gd name="connsiteY18" fmla="*/ 635793 h 1285875"/>
                <a:gd name="connsiteX19" fmla="*/ 483393 w 1373981"/>
                <a:gd name="connsiteY19" fmla="*/ 592931 h 1285875"/>
                <a:gd name="connsiteX20" fmla="*/ 571500 w 1373981"/>
                <a:gd name="connsiteY20" fmla="*/ 554831 h 1285875"/>
                <a:gd name="connsiteX21" fmla="*/ 592931 w 1373981"/>
                <a:gd name="connsiteY21" fmla="*/ 509587 h 1285875"/>
                <a:gd name="connsiteX22" fmla="*/ 626268 w 1373981"/>
                <a:gd name="connsiteY22" fmla="*/ 507206 h 1285875"/>
                <a:gd name="connsiteX23" fmla="*/ 673893 w 1373981"/>
                <a:gd name="connsiteY23" fmla="*/ 473868 h 1285875"/>
                <a:gd name="connsiteX24" fmla="*/ 747712 w 1373981"/>
                <a:gd name="connsiteY24" fmla="*/ 464343 h 1285875"/>
                <a:gd name="connsiteX25" fmla="*/ 816768 w 1373981"/>
                <a:gd name="connsiteY25" fmla="*/ 440531 h 1285875"/>
                <a:gd name="connsiteX26" fmla="*/ 904875 w 1373981"/>
                <a:gd name="connsiteY26" fmla="*/ 390525 h 1285875"/>
                <a:gd name="connsiteX27" fmla="*/ 1012825 w 1373981"/>
                <a:gd name="connsiteY27" fmla="*/ 363537 h 1285875"/>
                <a:gd name="connsiteX28" fmla="*/ 1067593 w 1373981"/>
                <a:gd name="connsiteY28" fmla="*/ 388143 h 1285875"/>
                <a:gd name="connsiteX29" fmla="*/ 1100931 w 1373981"/>
                <a:gd name="connsiteY29" fmla="*/ 354806 h 1285875"/>
                <a:gd name="connsiteX30" fmla="*/ 1217612 w 1373981"/>
                <a:gd name="connsiteY30" fmla="*/ 369887 h 1285875"/>
                <a:gd name="connsiteX31" fmla="*/ 1293812 w 1373981"/>
                <a:gd name="connsiteY31" fmla="*/ 366712 h 1285875"/>
                <a:gd name="connsiteX32" fmla="*/ 1373981 w 1373981"/>
                <a:gd name="connsiteY32" fmla="*/ 343693 h 1285875"/>
                <a:gd name="connsiteX33" fmla="*/ 869156 w 1373981"/>
                <a:gd name="connsiteY33" fmla="*/ 0 h 1285875"/>
                <a:gd name="connsiteX34" fmla="*/ 869156 w 1373981"/>
                <a:gd name="connsiteY34" fmla="*/ 0 h 1285875"/>
                <a:gd name="connsiteX0" fmla="*/ 69056 w 1373981"/>
                <a:gd name="connsiteY0" fmla="*/ 1377950 h 1377950"/>
                <a:gd name="connsiteX1" fmla="*/ 0 w 1373981"/>
                <a:gd name="connsiteY1" fmla="*/ 1361281 h 1377950"/>
                <a:gd name="connsiteX2" fmla="*/ 9525 w 1373981"/>
                <a:gd name="connsiteY2" fmla="*/ 1304131 h 1377950"/>
                <a:gd name="connsiteX3" fmla="*/ 0 w 1373981"/>
                <a:gd name="connsiteY3" fmla="*/ 1285081 h 1377950"/>
                <a:gd name="connsiteX4" fmla="*/ 50006 w 1373981"/>
                <a:gd name="connsiteY4" fmla="*/ 1254125 h 1377950"/>
                <a:gd name="connsiteX5" fmla="*/ 50006 w 1373981"/>
                <a:gd name="connsiteY5" fmla="*/ 1170781 h 1377950"/>
                <a:gd name="connsiteX6" fmla="*/ 52387 w 1373981"/>
                <a:gd name="connsiteY6" fmla="*/ 1151731 h 1377950"/>
                <a:gd name="connsiteX7" fmla="*/ 90487 w 1373981"/>
                <a:gd name="connsiteY7" fmla="*/ 1127918 h 1377950"/>
                <a:gd name="connsiteX8" fmla="*/ 109537 w 1373981"/>
                <a:gd name="connsiteY8" fmla="*/ 1056481 h 1377950"/>
                <a:gd name="connsiteX9" fmla="*/ 116681 w 1373981"/>
                <a:gd name="connsiteY9" fmla="*/ 1018381 h 1377950"/>
                <a:gd name="connsiteX10" fmla="*/ 100012 w 1373981"/>
                <a:gd name="connsiteY10" fmla="*/ 996950 h 1377950"/>
                <a:gd name="connsiteX11" fmla="*/ 223837 w 1373981"/>
                <a:gd name="connsiteY11" fmla="*/ 937418 h 1377950"/>
                <a:gd name="connsiteX12" fmla="*/ 240506 w 1373981"/>
                <a:gd name="connsiteY12" fmla="*/ 939800 h 1377950"/>
                <a:gd name="connsiteX13" fmla="*/ 295275 w 1373981"/>
                <a:gd name="connsiteY13" fmla="*/ 854075 h 1377950"/>
                <a:gd name="connsiteX14" fmla="*/ 323850 w 1373981"/>
                <a:gd name="connsiteY14" fmla="*/ 844550 h 1377950"/>
                <a:gd name="connsiteX15" fmla="*/ 381000 w 1373981"/>
                <a:gd name="connsiteY15" fmla="*/ 808831 h 1377950"/>
                <a:gd name="connsiteX16" fmla="*/ 392906 w 1373981"/>
                <a:gd name="connsiteY16" fmla="*/ 785018 h 1377950"/>
                <a:gd name="connsiteX17" fmla="*/ 457200 w 1373981"/>
                <a:gd name="connsiteY17" fmla="*/ 787400 h 1377950"/>
                <a:gd name="connsiteX18" fmla="*/ 511968 w 1373981"/>
                <a:gd name="connsiteY18" fmla="*/ 727868 h 1377950"/>
                <a:gd name="connsiteX19" fmla="*/ 483393 w 1373981"/>
                <a:gd name="connsiteY19" fmla="*/ 685006 h 1377950"/>
                <a:gd name="connsiteX20" fmla="*/ 571500 w 1373981"/>
                <a:gd name="connsiteY20" fmla="*/ 646906 h 1377950"/>
                <a:gd name="connsiteX21" fmla="*/ 592931 w 1373981"/>
                <a:gd name="connsiteY21" fmla="*/ 601662 h 1377950"/>
                <a:gd name="connsiteX22" fmla="*/ 626268 w 1373981"/>
                <a:gd name="connsiteY22" fmla="*/ 599281 h 1377950"/>
                <a:gd name="connsiteX23" fmla="*/ 673893 w 1373981"/>
                <a:gd name="connsiteY23" fmla="*/ 565943 h 1377950"/>
                <a:gd name="connsiteX24" fmla="*/ 747712 w 1373981"/>
                <a:gd name="connsiteY24" fmla="*/ 556418 h 1377950"/>
                <a:gd name="connsiteX25" fmla="*/ 816768 w 1373981"/>
                <a:gd name="connsiteY25" fmla="*/ 532606 h 1377950"/>
                <a:gd name="connsiteX26" fmla="*/ 904875 w 1373981"/>
                <a:gd name="connsiteY26" fmla="*/ 482600 h 1377950"/>
                <a:gd name="connsiteX27" fmla="*/ 1012825 w 1373981"/>
                <a:gd name="connsiteY27" fmla="*/ 455612 h 1377950"/>
                <a:gd name="connsiteX28" fmla="*/ 1067593 w 1373981"/>
                <a:gd name="connsiteY28" fmla="*/ 480218 h 1377950"/>
                <a:gd name="connsiteX29" fmla="*/ 1100931 w 1373981"/>
                <a:gd name="connsiteY29" fmla="*/ 446881 h 1377950"/>
                <a:gd name="connsiteX30" fmla="*/ 1217612 w 1373981"/>
                <a:gd name="connsiteY30" fmla="*/ 461962 h 1377950"/>
                <a:gd name="connsiteX31" fmla="*/ 1293812 w 1373981"/>
                <a:gd name="connsiteY31" fmla="*/ 458787 h 1377950"/>
                <a:gd name="connsiteX32" fmla="*/ 1373981 w 1373981"/>
                <a:gd name="connsiteY32" fmla="*/ 435768 h 1377950"/>
                <a:gd name="connsiteX33" fmla="*/ 869156 w 1373981"/>
                <a:gd name="connsiteY33" fmla="*/ 92075 h 1377950"/>
                <a:gd name="connsiteX34" fmla="*/ 1110456 w 1373981"/>
                <a:gd name="connsiteY34" fmla="*/ 0 h 1377950"/>
                <a:gd name="connsiteX0" fmla="*/ 69056 w 1439169"/>
                <a:gd name="connsiteY0" fmla="*/ 1377950 h 1377950"/>
                <a:gd name="connsiteX1" fmla="*/ 0 w 1439169"/>
                <a:gd name="connsiteY1" fmla="*/ 1361281 h 1377950"/>
                <a:gd name="connsiteX2" fmla="*/ 9525 w 1439169"/>
                <a:gd name="connsiteY2" fmla="*/ 1304131 h 1377950"/>
                <a:gd name="connsiteX3" fmla="*/ 0 w 1439169"/>
                <a:gd name="connsiteY3" fmla="*/ 1285081 h 1377950"/>
                <a:gd name="connsiteX4" fmla="*/ 50006 w 1439169"/>
                <a:gd name="connsiteY4" fmla="*/ 1254125 h 1377950"/>
                <a:gd name="connsiteX5" fmla="*/ 50006 w 1439169"/>
                <a:gd name="connsiteY5" fmla="*/ 1170781 h 1377950"/>
                <a:gd name="connsiteX6" fmla="*/ 52387 w 1439169"/>
                <a:gd name="connsiteY6" fmla="*/ 1151731 h 1377950"/>
                <a:gd name="connsiteX7" fmla="*/ 90487 w 1439169"/>
                <a:gd name="connsiteY7" fmla="*/ 1127918 h 1377950"/>
                <a:gd name="connsiteX8" fmla="*/ 109537 w 1439169"/>
                <a:gd name="connsiteY8" fmla="*/ 1056481 h 1377950"/>
                <a:gd name="connsiteX9" fmla="*/ 116681 w 1439169"/>
                <a:gd name="connsiteY9" fmla="*/ 1018381 h 1377950"/>
                <a:gd name="connsiteX10" fmla="*/ 100012 w 1439169"/>
                <a:gd name="connsiteY10" fmla="*/ 996950 h 1377950"/>
                <a:gd name="connsiteX11" fmla="*/ 223837 w 1439169"/>
                <a:gd name="connsiteY11" fmla="*/ 937418 h 1377950"/>
                <a:gd name="connsiteX12" fmla="*/ 240506 w 1439169"/>
                <a:gd name="connsiteY12" fmla="*/ 939800 h 1377950"/>
                <a:gd name="connsiteX13" fmla="*/ 295275 w 1439169"/>
                <a:gd name="connsiteY13" fmla="*/ 854075 h 1377950"/>
                <a:gd name="connsiteX14" fmla="*/ 323850 w 1439169"/>
                <a:gd name="connsiteY14" fmla="*/ 844550 h 1377950"/>
                <a:gd name="connsiteX15" fmla="*/ 381000 w 1439169"/>
                <a:gd name="connsiteY15" fmla="*/ 808831 h 1377950"/>
                <a:gd name="connsiteX16" fmla="*/ 392906 w 1439169"/>
                <a:gd name="connsiteY16" fmla="*/ 785018 h 1377950"/>
                <a:gd name="connsiteX17" fmla="*/ 457200 w 1439169"/>
                <a:gd name="connsiteY17" fmla="*/ 787400 h 1377950"/>
                <a:gd name="connsiteX18" fmla="*/ 511968 w 1439169"/>
                <a:gd name="connsiteY18" fmla="*/ 727868 h 1377950"/>
                <a:gd name="connsiteX19" fmla="*/ 483393 w 1439169"/>
                <a:gd name="connsiteY19" fmla="*/ 685006 h 1377950"/>
                <a:gd name="connsiteX20" fmla="*/ 571500 w 1439169"/>
                <a:gd name="connsiteY20" fmla="*/ 646906 h 1377950"/>
                <a:gd name="connsiteX21" fmla="*/ 592931 w 1439169"/>
                <a:gd name="connsiteY21" fmla="*/ 601662 h 1377950"/>
                <a:gd name="connsiteX22" fmla="*/ 626268 w 1439169"/>
                <a:gd name="connsiteY22" fmla="*/ 599281 h 1377950"/>
                <a:gd name="connsiteX23" fmla="*/ 673893 w 1439169"/>
                <a:gd name="connsiteY23" fmla="*/ 565943 h 1377950"/>
                <a:gd name="connsiteX24" fmla="*/ 747712 w 1439169"/>
                <a:gd name="connsiteY24" fmla="*/ 556418 h 1377950"/>
                <a:gd name="connsiteX25" fmla="*/ 816768 w 1439169"/>
                <a:gd name="connsiteY25" fmla="*/ 532606 h 1377950"/>
                <a:gd name="connsiteX26" fmla="*/ 904875 w 1439169"/>
                <a:gd name="connsiteY26" fmla="*/ 482600 h 1377950"/>
                <a:gd name="connsiteX27" fmla="*/ 1012825 w 1439169"/>
                <a:gd name="connsiteY27" fmla="*/ 455612 h 1377950"/>
                <a:gd name="connsiteX28" fmla="*/ 1067593 w 1439169"/>
                <a:gd name="connsiteY28" fmla="*/ 480218 h 1377950"/>
                <a:gd name="connsiteX29" fmla="*/ 1100931 w 1439169"/>
                <a:gd name="connsiteY29" fmla="*/ 446881 h 1377950"/>
                <a:gd name="connsiteX30" fmla="*/ 1217612 w 1439169"/>
                <a:gd name="connsiteY30" fmla="*/ 461962 h 1377950"/>
                <a:gd name="connsiteX31" fmla="*/ 1293812 w 1439169"/>
                <a:gd name="connsiteY31" fmla="*/ 458787 h 1377950"/>
                <a:gd name="connsiteX32" fmla="*/ 1373981 w 1439169"/>
                <a:gd name="connsiteY32" fmla="*/ 435768 h 1377950"/>
                <a:gd name="connsiteX33" fmla="*/ 1434306 w 1439169"/>
                <a:gd name="connsiteY33" fmla="*/ 390525 h 1377950"/>
                <a:gd name="connsiteX34" fmla="*/ 1110456 w 1439169"/>
                <a:gd name="connsiteY34" fmla="*/ 0 h 1377950"/>
                <a:gd name="connsiteX0" fmla="*/ 69056 w 1454289"/>
                <a:gd name="connsiteY0" fmla="*/ 1377950 h 1377950"/>
                <a:gd name="connsiteX1" fmla="*/ 0 w 1454289"/>
                <a:gd name="connsiteY1" fmla="*/ 1361281 h 1377950"/>
                <a:gd name="connsiteX2" fmla="*/ 9525 w 1454289"/>
                <a:gd name="connsiteY2" fmla="*/ 1304131 h 1377950"/>
                <a:gd name="connsiteX3" fmla="*/ 0 w 1454289"/>
                <a:gd name="connsiteY3" fmla="*/ 1285081 h 1377950"/>
                <a:gd name="connsiteX4" fmla="*/ 50006 w 1454289"/>
                <a:gd name="connsiteY4" fmla="*/ 1254125 h 1377950"/>
                <a:gd name="connsiteX5" fmla="*/ 50006 w 1454289"/>
                <a:gd name="connsiteY5" fmla="*/ 1170781 h 1377950"/>
                <a:gd name="connsiteX6" fmla="*/ 52387 w 1454289"/>
                <a:gd name="connsiteY6" fmla="*/ 1151731 h 1377950"/>
                <a:gd name="connsiteX7" fmla="*/ 90487 w 1454289"/>
                <a:gd name="connsiteY7" fmla="*/ 1127918 h 1377950"/>
                <a:gd name="connsiteX8" fmla="*/ 109537 w 1454289"/>
                <a:gd name="connsiteY8" fmla="*/ 1056481 h 1377950"/>
                <a:gd name="connsiteX9" fmla="*/ 116681 w 1454289"/>
                <a:gd name="connsiteY9" fmla="*/ 1018381 h 1377950"/>
                <a:gd name="connsiteX10" fmla="*/ 100012 w 1454289"/>
                <a:gd name="connsiteY10" fmla="*/ 996950 h 1377950"/>
                <a:gd name="connsiteX11" fmla="*/ 223837 w 1454289"/>
                <a:gd name="connsiteY11" fmla="*/ 937418 h 1377950"/>
                <a:gd name="connsiteX12" fmla="*/ 240506 w 1454289"/>
                <a:gd name="connsiteY12" fmla="*/ 939800 h 1377950"/>
                <a:gd name="connsiteX13" fmla="*/ 295275 w 1454289"/>
                <a:gd name="connsiteY13" fmla="*/ 854075 h 1377950"/>
                <a:gd name="connsiteX14" fmla="*/ 323850 w 1454289"/>
                <a:gd name="connsiteY14" fmla="*/ 844550 h 1377950"/>
                <a:gd name="connsiteX15" fmla="*/ 381000 w 1454289"/>
                <a:gd name="connsiteY15" fmla="*/ 808831 h 1377950"/>
                <a:gd name="connsiteX16" fmla="*/ 392906 w 1454289"/>
                <a:gd name="connsiteY16" fmla="*/ 785018 h 1377950"/>
                <a:gd name="connsiteX17" fmla="*/ 457200 w 1454289"/>
                <a:gd name="connsiteY17" fmla="*/ 787400 h 1377950"/>
                <a:gd name="connsiteX18" fmla="*/ 511968 w 1454289"/>
                <a:gd name="connsiteY18" fmla="*/ 727868 h 1377950"/>
                <a:gd name="connsiteX19" fmla="*/ 483393 w 1454289"/>
                <a:gd name="connsiteY19" fmla="*/ 685006 h 1377950"/>
                <a:gd name="connsiteX20" fmla="*/ 571500 w 1454289"/>
                <a:gd name="connsiteY20" fmla="*/ 646906 h 1377950"/>
                <a:gd name="connsiteX21" fmla="*/ 592931 w 1454289"/>
                <a:gd name="connsiteY21" fmla="*/ 601662 h 1377950"/>
                <a:gd name="connsiteX22" fmla="*/ 626268 w 1454289"/>
                <a:gd name="connsiteY22" fmla="*/ 599281 h 1377950"/>
                <a:gd name="connsiteX23" fmla="*/ 673893 w 1454289"/>
                <a:gd name="connsiteY23" fmla="*/ 565943 h 1377950"/>
                <a:gd name="connsiteX24" fmla="*/ 747712 w 1454289"/>
                <a:gd name="connsiteY24" fmla="*/ 556418 h 1377950"/>
                <a:gd name="connsiteX25" fmla="*/ 816768 w 1454289"/>
                <a:gd name="connsiteY25" fmla="*/ 532606 h 1377950"/>
                <a:gd name="connsiteX26" fmla="*/ 904875 w 1454289"/>
                <a:gd name="connsiteY26" fmla="*/ 482600 h 1377950"/>
                <a:gd name="connsiteX27" fmla="*/ 1012825 w 1454289"/>
                <a:gd name="connsiteY27" fmla="*/ 455612 h 1377950"/>
                <a:gd name="connsiteX28" fmla="*/ 1067593 w 1454289"/>
                <a:gd name="connsiteY28" fmla="*/ 480218 h 1377950"/>
                <a:gd name="connsiteX29" fmla="*/ 1100931 w 1454289"/>
                <a:gd name="connsiteY29" fmla="*/ 446881 h 1377950"/>
                <a:gd name="connsiteX30" fmla="*/ 1217612 w 1454289"/>
                <a:gd name="connsiteY30" fmla="*/ 461962 h 1377950"/>
                <a:gd name="connsiteX31" fmla="*/ 1293812 w 1454289"/>
                <a:gd name="connsiteY31" fmla="*/ 458787 h 1377950"/>
                <a:gd name="connsiteX32" fmla="*/ 1373981 w 1454289"/>
                <a:gd name="connsiteY32" fmla="*/ 435768 h 1377950"/>
                <a:gd name="connsiteX33" fmla="*/ 1414461 w 1454289"/>
                <a:gd name="connsiteY33" fmla="*/ 404812 h 1377950"/>
                <a:gd name="connsiteX34" fmla="*/ 1434306 w 1454289"/>
                <a:gd name="connsiteY34" fmla="*/ 390525 h 1377950"/>
                <a:gd name="connsiteX35" fmla="*/ 1110456 w 1454289"/>
                <a:gd name="connsiteY35" fmla="*/ 0 h 1377950"/>
                <a:gd name="connsiteX0" fmla="*/ 69056 w 1524706"/>
                <a:gd name="connsiteY0" fmla="*/ 1377950 h 1377950"/>
                <a:gd name="connsiteX1" fmla="*/ 0 w 1524706"/>
                <a:gd name="connsiteY1" fmla="*/ 1361281 h 1377950"/>
                <a:gd name="connsiteX2" fmla="*/ 9525 w 1524706"/>
                <a:gd name="connsiteY2" fmla="*/ 1304131 h 1377950"/>
                <a:gd name="connsiteX3" fmla="*/ 0 w 1524706"/>
                <a:gd name="connsiteY3" fmla="*/ 1285081 h 1377950"/>
                <a:gd name="connsiteX4" fmla="*/ 50006 w 1524706"/>
                <a:gd name="connsiteY4" fmla="*/ 1254125 h 1377950"/>
                <a:gd name="connsiteX5" fmla="*/ 50006 w 1524706"/>
                <a:gd name="connsiteY5" fmla="*/ 1170781 h 1377950"/>
                <a:gd name="connsiteX6" fmla="*/ 52387 w 1524706"/>
                <a:gd name="connsiteY6" fmla="*/ 1151731 h 1377950"/>
                <a:gd name="connsiteX7" fmla="*/ 90487 w 1524706"/>
                <a:gd name="connsiteY7" fmla="*/ 1127918 h 1377950"/>
                <a:gd name="connsiteX8" fmla="*/ 109537 w 1524706"/>
                <a:gd name="connsiteY8" fmla="*/ 1056481 h 1377950"/>
                <a:gd name="connsiteX9" fmla="*/ 116681 w 1524706"/>
                <a:gd name="connsiteY9" fmla="*/ 1018381 h 1377950"/>
                <a:gd name="connsiteX10" fmla="*/ 100012 w 1524706"/>
                <a:gd name="connsiteY10" fmla="*/ 996950 h 1377950"/>
                <a:gd name="connsiteX11" fmla="*/ 223837 w 1524706"/>
                <a:gd name="connsiteY11" fmla="*/ 937418 h 1377950"/>
                <a:gd name="connsiteX12" fmla="*/ 240506 w 1524706"/>
                <a:gd name="connsiteY12" fmla="*/ 939800 h 1377950"/>
                <a:gd name="connsiteX13" fmla="*/ 295275 w 1524706"/>
                <a:gd name="connsiteY13" fmla="*/ 854075 h 1377950"/>
                <a:gd name="connsiteX14" fmla="*/ 323850 w 1524706"/>
                <a:gd name="connsiteY14" fmla="*/ 844550 h 1377950"/>
                <a:gd name="connsiteX15" fmla="*/ 381000 w 1524706"/>
                <a:gd name="connsiteY15" fmla="*/ 808831 h 1377950"/>
                <a:gd name="connsiteX16" fmla="*/ 392906 w 1524706"/>
                <a:gd name="connsiteY16" fmla="*/ 785018 h 1377950"/>
                <a:gd name="connsiteX17" fmla="*/ 457200 w 1524706"/>
                <a:gd name="connsiteY17" fmla="*/ 787400 h 1377950"/>
                <a:gd name="connsiteX18" fmla="*/ 511968 w 1524706"/>
                <a:gd name="connsiteY18" fmla="*/ 727868 h 1377950"/>
                <a:gd name="connsiteX19" fmla="*/ 483393 w 1524706"/>
                <a:gd name="connsiteY19" fmla="*/ 685006 h 1377950"/>
                <a:gd name="connsiteX20" fmla="*/ 571500 w 1524706"/>
                <a:gd name="connsiteY20" fmla="*/ 646906 h 1377950"/>
                <a:gd name="connsiteX21" fmla="*/ 592931 w 1524706"/>
                <a:gd name="connsiteY21" fmla="*/ 601662 h 1377950"/>
                <a:gd name="connsiteX22" fmla="*/ 626268 w 1524706"/>
                <a:gd name="connsiteY22" fmla="*/ 599281 h 1377950"/>
                <a:gd name="connsiteX23" fmla="*/ 673893 w 1524706"/>
                <a:gd name="connsiteY23" fmla="*/ 565943 h 1377950"/>
                <a:gd name="connsiteX24" fmla="*/ 747712 w 1524706"/>
                <a:gd name="connsiteY24" fmla="*/ 556418 h 1377950"/>
                <a:gd name="connsiteX25" fmla="*/ 816768 w 1524706"/>
                <a:gd name="connsiteY25" fmla="*/ 532606 h 1377950"/>
                <a:gd name="connsiteX26" fmla="*/ 904875 w 1524706"/>
                <a:gd name="connsiteY26" fmla="*/ 482600 h 1377950"/>
                <a:gd name="connsiteX27" fmla="*/ 1012825 w 1524706"/>
                <a:gd name="connsiteY27" fmla="*/ 455612 h 1377950"/>
                <a:gd name="connsiteX28" fmla="*/ 1067593 w 1524706"/>
                <a:gd name="connsiteY28" fmla="*/ 480218 h 1377950"/>
                <a:gd name="connsiteX29" fmla="*/ 1100931 w 1524706"/>
                <a:gd name="connsiteY29" fmla="*/ 446881 h 1377950"/>
                <a:gd name="connsiteX30" fmla="*/ 1217612 w 1524706"/>
                <a:gd name="connsiteY30" fmla="*/ 461962 h 1377950"/>
                <a:gd name="connsiteX31" fmla="*/ 1293812 w 1524706"/>
                <a:gd name="connsiteY31" fmla="*/ 458787 h 1377950"/>
                <a:gd name="connsiteX32" fmla="*/ 1373981 w 1524706"/>
                <a:gd name="connsiteY32" fmla="*/ 435768 h 1377950"/>
                <a:gd name="connsiteX33" fmla="*/ 1414461 w 1524706"/>
                <a:gd name="connsiteY33" fmla="*/ 404812 h 1377950"/>
                <a:gd name="connsiteX34" fmla="*/ 1513681 w 1524706"/>
                <a:gd name="connsiteY34" fmla="*/ 365125 h 1377950"/>
                <a:gd name="connsiteX35" fmla="*/ 1110456 w 1524706"/>
                <a:gd name="connsiteY35" fmla="*/ 0 h 1377950"/>
                <a:gd name="connsiteX0" fmla="*/ 69056 w 1492507"/>
                <a:gd name="connsiteY0" fmla="*/ 1377950 h 1377950"/>
                <a:gd name="connsiteX1" fmla="*/ 0 w 1492507"/>
                <a:gd name="connsiteY1" fmla="*/ 1361281 h 1377950"/>
                <a:gd name="connsiteX2" fmla="*/ 9525 w 1492507"/>
                <a:gd name="connsiteY2" fmla="*/ 1304131 h 1377950"/>
                <a:gd name="connsiteX3" fmla="*/ 0 w 1492507"/>
                <a:gd name="connsiteY3" fmla="*/ 1285081 h 1377950"/>
                <a:gd name="connsiteX4" fmla="*/ 50006 w 1492507"/>
                <a:gd name="connsiteY4" fmla="*/ 1254125 h 1377950"/>
                <a:gd name="connsiteX5" fmla="*/ 50006 w 1492507"/>
                <a:gd name="connsiteY5" fmla="*/ 1170781 h 1377950"/>
                <a:gd name="connsiteX6" fmla="*/ 52387 w 1492507"/>
                <a:gd name="connsiteY6" fmla="*/ 1151731 h 1377950"/>
                <a:gd name="connsiteX7" fmla="*/ 90487 w 1492507"/>
                <a:gd name="connsiteY7" fmla="*/ 1127918 h 1377950"/>
                <a:gd name="connsiteX8" fmla="*/ 109537 w 1492507"/>
                <a:gd name="connsiteY8" fmla="*/ 1056481 h 1377950"/>
                <a:gd name="connsiteX9" fmla="*/ 116681 w 1492507"/>
                <a:gd name="connsiteY9" fmla="*/ 1018381 h 1377950"/>
                <a:gd name="connsiteX10" fmla="*/ 100012 w 1492507"/>
                <a:gd name="connsiteY10" fmla="*/ 996950 h 1377950"/>
                <a:gd name="connsiteX11" fmla="*/ 223837 w 1492507"/>
                <a:gd name="connsiteY11" fmla="*/ 937418 h 1377950"/>
                <a:gd name="connsiteX12" fmla="*/ 240506 w 1492507"/>
                <a:gd name="connsiteY12" fmla="*/ 939800 h 1377950"/>
                <a:gd name="connsiteX13" fmla="*/ 295275 w 1492507"/>
                <a:gd name="connsiteY13" fmla="*/ 854075 h 1377950"/>
                <a:gd name="connsiteX14" fmla="*/ 323850 w 1492507"/>
                <a:gd name="connsiteY14" fmla="*/ 844550 h 1377950"/>
                <a:gd name="connsiteX15" fmla="*/ 381000 w 1492507"/>
                <a:gd name="connsiteY15" fmla="*/ 808831 h 1377950"/>
                <a:gd name="connsiteX16" fmla="*/ 392906 w 1492507"/>
                <a:gd name="connsiteY16" fmla="*/ 785018 h 1377950"/>
                <a:gd name="connsiteX17" fmla="*/ 457200 w 1492507"/>
                <a:gd name="connsiteY17" fmla="*/ 787400 h 1377950"/>
                <a:gd name="connsiteX18" fmla="*/ 511968 w 1492507"/>
                <a:gd name="connsiteY18" fmla="*/ 727868 h 1377950"/>
                <a:gd name="connsiteX19" fmla="*/ 483393 w 1492507"/>
                <a:gd name="connsiteY19" fmla="*/ 685006 h 1377950"/>
                <a:gd name="connsiteX20" fmla="*/ 571500 w 1492507"/>
                <a:gd name="connsiteY20" fmla="*/ 646906 h 1377950"/>
                <a:gd name="connsiteX21" fmla="*/ 592931 w 1492507"/>
                <a:gd name="connsiteY21" fmla="*/ 601662 h 1377950"/>
                <a:gd name="connsiteX22" fmla="*/ 626268 w 1492507"/>
                <a:gd name="connsiteY22" fmla="*/ 599281 h 1377950"/>
                <a:gd name="connsiteX23" fmla="*/ 673893 w 1492507"/>
                <a:gd name="connsiteY23" fmla="*/ 565943 h 1377950"/>
                <a:gd name="connsiteX24" fmla="*/ 747712 w 1492507"/>
                <a:gd name="connsiteY24" fmla="*/ 556418 h 1377950"/>
                <a:gd name="connsiteX25" fmla="*/ 816768 w 1492507"/>
                <a:gd name="connsiteY25" fmla="*/ 532606 h 1377950"/>
                <a:gd name="connsiteX26" fmla="*/ 904875 w 1492507"/>
                <a:gd name="connsiteY26" fmla="*/ 482600 h 1377950"/>
                <a:gd name="connsiteX27" fmla="*/ 1012825 w 1492507"/>
                <a:gd name="connsiteY27" fmla="*/ 455612 h 1377950"/>
                <a:gd name="connsiteX28" fmla="*/ 1067593 w 1492507"/>
                <a:gd name="connsiteY28" fmla="*/ 480218 h 1377950"/>
                <a:gd name="connsiteX29" fmla="*/ 1100931 w 1492507"/>
                <a:gd name="connsiteY29" fmla="*/ 446881 h 1377950"/>
                <a:gd name="connsiteX30" fmla="*/ 1217612 w 1492507"/>
                <a:gd name="connsiteY30" fmla="*/ 461962 h 1377950"/>
                <a:gd name="connsiteX31" fmla="*/ 1293812 w 1492507"/>
                <a:gd name="connsiteY31" fmla="*/ 458787 h 1377950"/>
                <a:gd name="connsiteX32" fmla="*/ 1373981 w 1492507"/>
                <a:gd name="connsiteY32" fmla="*/ 435768 h 1377950"/>
                <a:gd name="connsiteX33" fmla="*/ 1414461 w 1492507"/>
                <a:gd name="connsiteY33" fmla="*/ 404812 h 1377950"/>
                <a:gd name="connsiteX34" fmla="*/ 1478756 w 1492507"/>
                <a:gd name="connsiteY34" fmla="*/ 336550 h 1377950"/>
                <a:gd name="connsiteX35" fmla="*/ 1110456 w 1492507"/>
                <a:gd name="connsiteY35" fmla="*/ 0 h 1377950"/>
                <a:gd name="connsiteX0" fmla="*/ 69056 w 1427743"/>
                <a:gd name="connsiteY0" fmla="*/ 1377950 h 1377950"/>
                <a:gd name="connsiteX1" fmla="*/ 0 w 1427743"/>
                <a:gd name="connsiteY1" fmla="*/ 1361281 h 1377950"/>
                <a:gd name="connsiteX2" fmla="*/ 9525 w 1427743"/>
                <a:gd name="connsiteY2" fmla="*/ 1304131 h 1377950"/>
                <a:gd name="connsiteX3" fmla="*/ 0 w 1427743"/>
                <a:gd name="connsiteY3" fmla="*/ 1285081 h 1377950"/>
                <a:gd name="connsiteX4" fmla="*/ 50006 w 1427743"/>
                <a:gd name="connsiteY4" fmla="*/ 1254125 h 1377950"/>
                <a:gd name="connsiteX5" fmla="*/ 50006 w 1427743"/>
                <a:gd name="connsiteY5" fmla="*/ 1170781 h 1377950"/>
                <a:gd name="connsiteX6" fmla="*/ 52387 w 1427743"/>
                <a:gd name="connsiteY6" fmla="*/ 1151731 h 1377950"/>
                <a:gd name="connsiteX7" fmla="*/ 90487 w 1427743"/>
                <a:gd name="connsiteY7" fmla="*/ 1127918 h 1377950"/>
                <a:gd name="connsiteX8" fmla="*/ 109537 w 1427743"/>
                <a:gd name="connsiteY8" fmla="*/ 1056481 h 1377950"/>
                <a:gd name="connsiteX9" fmla="*/ 116681 w 1427743"/>
                <a:gd name="connsiteY9" fmla="*/ 1018381 h 1377950"/>
                <a:gd name="connsiteX10" fmla="*/ 100012 w 1427743"/>
                <a:gd name="connsiteY10" fmla="*/ 996950 h 1377950"/>
                <a:gd name="connsiteX11" fmla="*/ 223837 w 1427743"/>
                <a:gd name="connsiteY11" fmla="*/ 937418 h 1377950"/>
                <a:gd name="connsiteX12" fmla="*/ 240506 w 1427743"/>
                <a:gd name="connsiteY12" fmla="*/ 939800 h 1377950"/>
                <a:gd name="connsiteX13" fmla="*/ 295275 w 1427743"/>
                <a:gd name="connsiteY13" fmla="*/ 854075 h 1377950"/>
                <a:gd name="connsiteX14" fmla="*/ 323850 w 1427743"/>
                <a:gd name="connsiteY14" fmla="*/ 844550 h 1377950"/>
                <a:gd name="connsiteX15" fmla="*/ 381000 w 1427743"/>
                <a:gd name="connsiteY15" fmla="*/ 808831 h 1377950"/>
                <a:gd name="connsiteX16" fmla="*/ 392906 w 1427743"/>
                <a:gd name="connsiteY16" fmla="*/ 785018 h 1377950"/>
                <a:gd name="connsiteX17" fmla="*/ 457200 w 1427743"/>
                <a:gd name="connsiteY17" fmla="*/ 787400 h 1377950"/>
                <a:gd name="connsiteX18" fmla="*/ 511968 w 1427743"/>
                <a:gd name="connsiteY18" fmla="*/ 727868 h 1377950"/>
                <a:gd name="connsiteX19" fmla="*/ 483393 w 1427743"/>
                <a:gd name="connsiteY19" fmla="*/ 685006 h 1377950"/>
                <a:gd name="connsiteX20" fmla="*/ 571500 w 1427743"/>
                <a:gd name="connsiteY20" fmla="*/ 646906 h 1377950"/>
                <a:gd name="connsiteX21" fmla="*/ 592931 w 1427743"/>
                <a:gd name="connsiteY21" fmla="*/ 601662 h 1377950"/>
                <a:gd name="connsiteX22" fmla="*/ 626268 w 1427743"/>
                <a:gd name="connsiteY22" fmla="*/ 599281 h 1377950"/>
                <a:gd name="connsiteX23" fmla="*/ 673893 w 1427743"/>
                <a:gd name="connsiteY23" fmla="*/ 565943 h 1377950"/>
                <a:gd name="connsiteX24" fmla="*/ 747712 w 1427743"/>
                <a:gd name="connsiteY24" fmla="*/ 556418 h 1377950"/>
                <a:gd name="connsiteX25" fmla="*/ 816768 w 1427743"/>
                <a:gd name="connsiteY25" fmla="*/ 532606 h 1377950"/>
                <a:gd name="connsiteX26" fmla="*/ 904875 w 1427743"/>
                <a:gd name="connsiteY26" fmla="*/ 482600 h 1377950"/>
                <a:gd name="connsiteX27" fmla="*/ 1012825 w 1427743"/>
                <a:gd name="connsiteY27" fmla="*/ 455612 h 1377950"/>
                <a:gd name="connsiteX28" fmla="*/ 1067593 w 1427743"/>
                <a:gd name="connsiteY28" fmla="*/ 480218 h 1377950"/>
                <a:gd name="connsiteX29" fmla="*/ 1100931 w 1427743"/>
                <a:gd name="connsiteY29" fmla="*/ 446881 h 1377950"/>
                <a:gd name="connsiteX30" fmla="*/ 1217612 w 1427743"/>
                <a:gd name="connsiteY30" fmla="*/ 461962 h 1377950"/>
                <a:gd name="connsiteX31" fmla="*/ 1293812 w 1427743"/>
                <a:gd name="connsiteY31" fmla="*/ 458787 h 1377950"/>
                <a:gd name="connsiteX32" fmla="*/ 1373981 w 1427743"/>
                <a:gd name="connsiteY32" fmla="*/ 435768 h 1377950"/>
                <a:gd name="connsiteX33" fmla="*/ 1414461 w 1427743"/>
                <a:gd name="connsiteY33" fmla="*/ 404812 h 1377950"/>
                <a:gd name="connsiteX34" fmla="*/ 1110456 w 1427743"/>
                <a:gd name="connsiteY34" fmla="*/ 0 h 1377950"/>
                <a:gd name="connsiteX0" fmla="*/ 69056 w 1373981"/>
                <a:gd name="connsiteY0" fmla="*/ 1377950 h 1377950"/>
                <a:gd name="connsiteX1" fmla="*/ 0 w 1373981"/>
                <a:gd name="connsiteY1" fmla="*/ 1361281 h 1377950"/>
                <a:gd name="connsiteX2" fmla="*/ 9525 w 1373981"/>
                <a:gd name="connsiteY2" fmla="*/ 1304131 h 1377950"/>
                <a:gd name="connsiteX3" fmla="*/ 0 w 1373981"/>
                <a:gd name="connsiteY3" fmla="*/ 1285081 h 1377950"/>
                <a:gd name="connsiteX4" fmla="*/ 50006 w 1373981"/>
                <a:gd name="connsiteY4" fmla="*/ 1254125 h 1377950"/>
                <a:gd name="connsiteX5" fmla="*/ 50006 w 1373981"/>
                <a:gd name="connsiteY5" fmla="*/ 1170781 h 1377950"/>
                <a:gd name="connsiteX6" fmla="*/ 52387 w 1373981"/>
                <a:gd name="connsiteY6" fmla="*/ 1151731 h 1377950"/>
                <a:gd name="connsiteX7" fmla="*/ 90487 w 1373981"/>
                <a:gd name="connsiteY7" fmla="*/ 1127918 h 1377950"/>
                <a:gd name="connsiteX8" fmla="*/ 109537 w 1373981"/>
                <a:gd name="connsiteY8" fmla="*/ 1056481 h 1377950"/>
                <a:gd name="connsiteX9" fmla="*/ 116681 w 1373981"/>
                <a:gd name="connsiteY9" fmla="*/ 1018381 h 1377950"/>
                <a:gd name="connsiteX10" fmla="*/ 100012 w 1373981"/>
                <a:gd name="connsiteY10" fmla="*/ 996950 h 1377950"/>
                <a:gd name="connsiteX11" fmla="*/ 223837 w 1373981"/>
                <a:gd name="connsiteY11" fmla="*/ 937418 h 1377950"/>
                <a:gd name="connsiteX12" fmla="*/ 240506 w 1373981"/>
                <a:gd name="connsiteY12" fmla="*/ 939800 h 1377950"/>
                <a:gd name="connsiteX13" fmla="*/ 295275 w 1373981"/>
                <a:gd name="connsiteY13" fmla="*/ 854075 h 1377950"/>
                <a:gd name="connsiteX14" fmla="*/ 323850 w 1373981"/>
                <a:gd name="connsiteY14" fmla="*/ 844550 h 1377950"/>
                <a:gd name="connsiteX15" fmla="*/ 381000 w 1373981"/>
                <a:gd name="connsiteY15" fmla="*/ 808831 h 1377950"/>
                <a:gd name="connsiteX16" fmla="*/ 392906 w 1373981"/>
                <a:gd name="connsiteY16" fmla="*/ 785018 h 1377950"/>
                <a:gd name="connsiteX17" fmla="*/ 457200 w 1373981"/>
                <a:gd name="connsiteY17" fmla="*/ 787400 h 1377950"/>
                <a:gd name="connsiteX18" fmla="*/ 511968 w 1373981"/>
                <a:gd name="connsiteY18" fmla="*/ 727868 h 1377950"/>
                <a:gd name="connsiteX19" fmla="*/ 483393 w 1373981"/>
                <a:gd name="connsiteY19" fmla="*/ 685006 h 1377950"/>
                <a:gd name="connsiteX20" fmla="*/ 571500 w 1373981"/>
                <a:gd name="connsiteY20" fmla="*/ 646906 h 1377950"/>
                <a:gd name="connsiteX21" fmla="*/ 592931 w 1373981"/>
                <a:gd name="connsiteY21" fmla="*/ 601662 h 1377950"/>
                <a:gd name="connsiteX22" fmla="*/ 626268 w 1373981"/>
                <a:gd name="connsiteY22" fmla="*/ 599281 h 1377950"/>
                <a:gd name="connsiteX23" fmla="*/ 673893 w 1373981"/>
                <a:gd name="connsiteY23" fmla="*/ 565943 h 1377950"/>
                <a:gd name="connsiteX24" fmla="*/ 747712 w 1373981"/>
                <a:gd name="connsiteY24" fmla="*/ 556418 h 1377950"/>
                <a:gd name="connsiteX25" fmla="*/ 816768 w 1373981"/>
                <a:gd name="connsiteY25" fmla="*/ 532606 h 1377950"/>
                <a:gd name="connsiteX26" fmla="*/ 904875 w 1373981"/>
                <a:gd name="connsiteY26" fmla="*/ 482600 h 1377950"/>
                <a:gd name="connsiteX27" fmla="*/ 1012825 w 1373981"/>
                <a:gd name="connsiteY27" fmla="*/ 455612 h 1377950"/>
                <a:gd name="connsiteX28" fmla="*/ 1067593 w 1373981"/>
                <a:gd name="connsiteY28" fmla="*/ 480218 h 1377950"/>
                <a:gd name="connsiteX29" fmla="*/ 1100931 w 1373981"/>
                <a:gd name="connsiteY29" fmla="*/ 446881 h 1377950"/>
                <a:gd name="connsiteX30" fmla="*/ 1217612 w 1373981"/>
                <a:gd name="connsiteY30" fmla="*/ 461962 h 1377950"/>
                <a:gd name="connsiteX31" fmla="*/ 1293812 w 1373981"/>
                <a:gd name="connsiteY31" fmla="*/ 458787 h 1377950"/>
                <a:gd name="connsiteX32" fmla="*/ 1373981 w 1373981"/>
                <a:gd name="connsiteY32" fmla="*/ 435768 h 1377950"/>
                <a:gd name="connsiteX33" fmla="*/ 1110456 w 1373981"/>
                <a:gd name="connsiteY33" fmla="*/ 0 h 1377950"/>
                <a:gd name="connsiteX0" fmla="*/ 69056 w 2002481"/>
                <a:gd name="connsiteY0" fmla="*/ 958809 h 958809"/>
                <a:gd name="connsiteX1" fmla="*/ 0 w 2002481"/>
                <a:gd name="connsiteY1" fmla="*/ 942140 h 958809"/>
                <a:gd name="connsiteX2" fmla="*/ 9525 w 2002481"/>
                <a:gd name="connsiteY2" fmla="*/ 884990 h 958809"/>
                <a:gd name="connsiteX3" fmla="*/ 0 w 2002481"/>
                <a:gd name="connsiteY3" fmla="*/ 865940 h 958809"/>
                <a:gd name="connsiteX4" fmla="*/ 50006 w 2002481"/>
                <a:gd name="connsiteY4" fmla="*/ 834984 h 958809"/>
                <a:gd name="connsiteX5" fmla="*/ 50006 w 2002481"/>
                <a:gd name="connsiteY5" fmla="*/ 751640 h 958809"/>
                <a:gd name="connsiteX6" fmla="*/ 52387 w 2002481"/>
                <a:gd name="connsiteY6" fmla="*/ 732590 h 958809"/>
                <a:gd name="connsiteX7" fmla="*/ 90487 w 2002481"/>
                <a:gd name="connsiteY7" fmla="*/ 708777 h 958809"/>
                <a:gd name="connsiteX8" fmla="*/ 109537 w 2002481"/>
                <a:gd name="connsiteY8" fmla="*/ 637340 h 958809"/>
                <a:gd name="connsiteX9" fmla="*/ 116681 w 2002481"/>
                <a:gd name="connsiteY9" fmla="*/ 599240 h 958809"/>
                <a:gd name="connsiteX10" fmla="*/ 100012 w 2002481"/>
                <a:gd name="connsiteY10" fmla="*/ 577809 h 958809"/>
                <a:gd name="connsiteX11" fmla="*/ 223837 w 2002481"/>
                <a:gd name="connsiteY11" fmla="*/ 518277 h 958809"/>
                <a:gd name="connsiteX12" fmla="*/ 240506 w 2002481"/>
                <a:gd name="connsiteY12" fmla="*/ 520659 h 958809"/>
                <a:gd name="connsiteX13" fmla="*/ 295275 w 2002481"/>
                <a:gd name="connsiteY13" fmla="*/ 434934 h 958809"/>
                <a:gd name="connsiteX14" fmla="*/ 323850 w 2002481"/>
                <a:gd name="connsiteY14" fmla="*/ 425409 h 958809"/>
                <a:gd name="connsiteX15" fmla="*/ 381000 w 2002481"/>
                <a:gd name="connsiteY15" fmla="*/ 389690 h 958809"/>
                <a:gd name="connsiteX16" fmla="*/ 392906 w 2002481"/>
                <a:gd name="connsiteY16" fmla="*/ 365877 h 958809"/>
                <a:gd name="connsiteX17" fmla="*/ 457200 w 2002481"/>
                <a:gd name="connsiteY17" fmla="*/ 368259 h 958809"/>
                <a:gd name="connsiteX18" fmla="*/ 511968 w 2002481"/>
                <a:gd name="connsiteY18" fmla="*/ 308727 h 958809"/>
                <a:gd name="connsiteX19" fmla="*/ 483393 w 2002481"/>
                <a:gd name="connsiteY19" fmla="*/ 265865 h 958809"/>
                <a:gd name="connsiteX20" fmla="*/ 571500 w 2002481"/>
                <a:gd name="connsiteY20" fmla="*/ 227765 h 958809"/>
                <a:gd name="connsiteX21" fmla="*/ 592931 w 2002481"/>
                <a:gd name="connsiteY21" fmla="*/ 182521 h 958809"/>
                <a:gd name="connsiteX22" fmla="*/ 626268 w 2002481"/>
                <a:gd name="connsiteY22" fmla="*/ 180140 h 958809"/>
                <a:gd name="connsiteX23" fmla="*/ 673893 w 2002481"/>
                <a:gd name="connsiteY23" fmla="*/ 146802 h 958809"/>
                <a:gd name="connsiteX24" fmla="*/ 747712 w 2002481"/>
                <a:gd name="connsiteY24" fmla="*/ 137277 h 958809"/>
                <a:gd name="connsiteX25" fmla="*/ 816768 w 2002481"/>
                <a:gd name="connsiteY25" fmla="*/ 113465 h 958809"/>
                <a:gd name="connsiteX26" fmla="*/ 904875 w 2002481"/>
                <a:gd name="connsiteY26" fmla="*/ 63459 h 958809"/>
                <a:gd name="connsiteX27" fmla="*/ 1012825 w 2002481"/>
                <a:gd name="connsiteY27" fmla="*/ 36471 h 958809"/>
                <a:gd name="connsiteX28" fmla="*/ 1067593 w 2002481"/>
                <a:gd name="connsiteY28" fmla="*/ 61077 h 958809"/>
                <a:gd name="connsiteX29" fmla="*/ 1100931 w 2002481"/>
                <a:gd name="connsiteY29" fmla="*/ 27740 h 958809"/>
                <a:gd name="connsiteX30" fmla="*/ 1217612 w 2002481"/>
                <a:gd name="connsiteY30" fmla="*/ 42821 h 958809"/>
                <a:gd name="connsiteX31" fmla="*/ 1293812 w 2002481"/>
                <a:gd name="connsiteY31" fmla="*/ 39646 h 958809"/>
                <a:gd name="connsiteX32" fmla="*/ 1373981 w 2002481"/>
                <a:gd name="connsiteY32" fmla="*/ 16627 h 958809"/>
                <a:gd name="connsiteX33" fmla="*/ 1999456 w 2002481"/>
                <a:gd name="connsiteY33" fmla="*/ 66634 h 958809"/>
                <a:gd name="connsiteX0" fmla="*/ 69056 w 1999456"/>
                <a:gd name="connsiteY0" fmla="*/ 1005601 h 1005601"/>
                <a:gd name="connsiteX1" fmla="*/ 0 w 1999456"/>
                <a:gd name="connsiteY1" fmla="*/ 988932 h 1005601"/>
                <a:gd name="connsiteX2" fmla="*/ 9525 w 1999456"/>
                <a:gd name="connsiteY2" fmla="*/ 931782 h 1005601"/>
                <a:gd name="connsiteX3" fmla="*/ 0 w 1999456"/>
                <a:gd name="connsiteY3" fmla="*/ 912732 h 1005601"/>
                <a:gd name="connsiteX4" fmla="*/ 50006 w 1999456"/>
                <a:gd name="connsiteY4" fmla="*/ 881776 h 1005601"/>
                <a:gd name="connsiteX5" fmla="*/ 50006 w 1999456"/>
                <a:gd name="connsiteY5" fmla="*/ 798432 h 1005601"/>
                <a:gd name="connsiteX6" fmla="*/ 52387 w 1999456"/>
                <a:gd name="connsiteY6" fmla="*/ 779382 h 1005601"/>
                <a:gd name="connsiteX7" fmla="*/ 90487 w 1999456"/>
                <a:gd name="connsiteY7" fmla="*/ 755569 h 1005601"/>
                <a:gd name="connsiteX8" fmla="*/ 109537 w 1999456"/>
                <a:gd name="connsiteY8" fmla="*/ 684132 h 1005601"/>
                <a:gd name="connsiteX9" fmla="*/ 116681 w 1999456"/>
                <a:gd name="connsiteY9" fmla="*/ 646032 h 1005601"/>
                <a:gd name="connsiteX10" fmla="*/ 100012 w 1999456"/>
                <a:gd name="connsiteY10" fmla="*/ 624601 h 1005601"/>
                <a:gd name="connsiteX11" fmla="*/ 223837 w 1999456"/>
                <a:gd name="connsiteY11" fmla="*/ 565069 h 1005601"/>
                <a:gd name="connsiteX12" fmla="*/ 240506 w 1999456"/>
                <a:gd name="connsiteY12" fmla="*/ 567451 h 1005601"/>
                <a:gd name="connsiteX13" fmla="*/ 295275 w 1999456"/>
                <a:gd name="connsiteY13" fmla="*/ 481726 h 1005601"/>
                <a:gd name="connsiteX14" fmla="*/ 323850 w 1999456"/>
                <a:gd name="connsiteY14" fmla="*/ 472201 h 1005601"/>
                <a:gd name="connsiteX15" fmla="*/ 381000 w 1999456"/>
                <a:gd name="connsiteY15" fmla="*/ 436482 h 1005601"/>
                <a:gd name="connsiteX16" fmla="*/ 392906 w 1999456"/>
                <a:gd name="connsiteY16" fmla="*/ 412669 h 1005601"/>
                <a:gd name="connsiteX17" fmla="*/ 457200 w 1999456"/>
                <a:gd name="connsiteY17" fmla="*/ 415051 h 1005601"/>
                <a:gd name="connsiteX18" fmla="*/ 511968 w 1999456"/>
                <a:gd name="connsiteY18" fmla="*/ 355519 h 1005601"/>
                <a:gd name="connsiteX19" fmla="*/ 483393 w 1999456"/>
                <a:gd name="connsiteY19" fmla="*/ 312657 h 1005601"/>
                <a:gd name="connsiteX20" fmla="*/ 571500 w 1999456"/>
                <a:gd name="connsiteY20" fmla="*/ 274557 h 1005601"/>
                <a:gd name="connsiteX21" fmla="*/ 592931 w 1999456"/>
                <a:gd name="connsiteY21" fmla="*/ 229313 h 1005601"/>
                <a:gd name="connsiteX22" fmla="*/ 626268 w 1999456"/>
                <a:gd name="connsiteY22" fmla="*/ 226932 h 1005601"/>
                <a:gd name="connsiteX23" fmla="*/ 673893 w 1999456"/>
                <a:gd name="connsiteY23" fmla="*/ 193594 h 1005601"/>
                <a:gd name="connsiteX24" fmla="*/ 747712 w 1999456"/>
                <a:gd name="connsiteY24" fmla="*/ 184069 h 1005601"/>
                <a:gd name="connsiteX25" fmla="*/ 816768 w 1999456"/>
                <a:gd name="connsiteY25" fmla="*/ 160257 h 1005601"/>
                <a:gd name="connsiteX26" fmla="*/ 904875 w 1999456"/>
                <a:gd name="connsiteY26" fmla="*/ 110251 h 1005601"/>
                <a:gd name="connsiteX27" fmla="*/ 1012825 w 1999456"/>
                <a:gd name="connsiteY27" fmla="*/ 83263 h 1005601"/>
                <a:gd name="connsiteX28" fmla="*/ 1067593 w 1999456"/>
                <a:gd name="connsiteY28" fmla="*/ 107869 h 1005601"/>
                <a:gd name="connsiteX29" fmla="*/ 1100931 w 1999456"/>
                <a:gd name="connsiteY29" fmla="*/ 74532 h 1005601"/>
                <a:gd name="connsiteX30" fmla="*/ 1217612 w 1999456"/>
                <a:gd name="connsiteY30" fmla="*/ 89613 h 1005601"/>
                <a:gd name="connsiteX31" fmla="*/ 1293812 w 1999456"/>
                <a:gd name="connsiteY31" fmla="*/ 86438 h 1005601"/>
                <a:gd name="connsiteX32" fmla="*/ 1373981 w 1999456"/>
                <a:gd name="connsiteY32" fmla="*/ 63419 h 1005601"/>
                <a:gd name="connsiteX33" fmla="*/ 1512886 w 1999456"/>
                <a:gd name="connsiteY33" fmla="*/ 713 h 1005601"/>
                <a:gd name="connsiteX34" fmla="*/ 1999456 w 1999456"/>
                <a:gd name="connsiteY34" fmla="*/ 113426 h 1005601"/>
                <a:gd name="connsiteX0" fmla="*/ 69056 w 1999456"/>
                <a:gd name="connsiteY0" fmla="*/ 1005601 h 1005601"/>
                <a:gd name="connsiteX1" fmla="*/ 0 w 1999456"/>
                <a:gd name="connsiteY1" fmla="*/ 988932 h 1005601"/>
                <a:gd name="connsiteX2" fmla="*/ 9525 w 1999456"/>
                <a:gd name="connsiteY2" fmla="*/ 931782 h 1005601"/>
                <a:gd name="connsiteX3" fmla="*/ 0 w 1999456"/>
                <a:gd name="connsiteY3" fmla="*/ 912732 h 1005601"/>
                <a:gd name="connsiteX4" fmla="*/ 50006 w 1999456"/>
                <a:gd name="connsiteY4" fmla="*/ 881776 h 1005601"/>
                <a:gd name="connsiteX5" fmla="*/ 50006 w 1999456"/>
                <a:gd name="connsiteY5" fmla="*/ 798432 h 1005601"/>
                <a:gd name="connsiteX6" fmla="*/ 52387 w 1999456"/>
                <a:gd name="connsiteY6" fmla="*/ 779382 h 1005601"/>
                <a:gd name="connsiteX7" fmla="*/ 90487 w 1999456"/>
                <a:gd name="connsiteY7" fmla="*/ 755569 h 1005601"/>
                <a:gd name="connsiteX8" fmla="*/ 109537 w 1999456"/>
                <a:gd name="connsiteY8" fmla="*/ 684132 h 1005601"/>
                <a:gd name="connsiteX9" fmla="*/ 116681 w 1999456"/>
                <a:gd name="connsiteY9" fmla="*/ 646032 h 1005601"/>
                <a:gd name="connsiteX10" fmla="*/ 100012 w 1999456"/>
                <a:gd name="connsiteY10" fmla="*/ 624601 h 1005601"/>
                <a:gd name="connsiteX11" fmla="*/ 223837 w 1999456"/>
                <a:gd name="connsiteY11" fmla="*/ 565069 h 1005601"/>
                <a:gd name="connsiteX12" fmla="*/ 240506 w 1999456"/>
                <a:gd name="connsiteY12" fmla="*/ 567451 h 1005601"/>
                <a:gd name="connsiteX13" fmla="*/ 295275 w 1999456"/>
                <a:gd name="connsiteY13" fmla="*/ 481726 h 1005601"/>
                <a:gd name="connsiteX14" fmla="*/ 323850 w 1999456"/>
                <a:gd name="connsiteY14" fmla="*/ 472201 h 1005601"/>
                <a:gd name="connsiteX15" fmla="*/ 381000 w 1999456"/>
                <a:gd name="connsiteY15" fmla="*/ 436482 h 1005601"/>
                <a:gd name="connsiteX16" fmla="*/ 392906 w 1999456"/>
                <a:gd name="connsiteY16" fmla="*/ 412669 h 1005601"/>
                <a:gd name="connsiteX17" fmla="*/ 457200 w 1999456"/>
                <a:gd name="connsiteY17" fmla="*/ 415051 h 1005601"/>
                <a:gd name="connsiteX18" fmla="*/ 511968 w 1999456"/>
                <a:gd name="connsiteY18" fmla="*/ 355519 h 1005601"/>
                <a:gd name="connsiteX19" fmla="*/ 483393 w 1999456"/>
                <a:gd name="connsiteY19" fmla="*/ 312657 h 1005601"/>
                <a:gd name="connsiteX20" fmla="*/ 571500 w 1999456"/>
                <a:gd name="connsiteY20" fmla="*/ 274557 h 1005601"/>
                <a:gd name="connsiteX21" fmla="*/ 592931 w 1999456"/>
                <a:gd name="connsiteY21" fmla="*/ 229313 h 1005601"/>
                <a:gd name="connsiteX22" fmla="*/ 626268 w 1999456"/>
                <a:gd name="connsiteY22" fmla="*/ 226932 h 1005601"/>
                <a:gd name="connsiteX23" fmla="*/ 673893 w 1999456"/>
                <a:gd name="connsiteY23" fmla="*/ 193594 h 1005601"/>
                <a:gd name="connsiteX24" fmla="*/ 747712 w 1999456"/>
                <a:gd name="connsiteY24" fmla="*/ 184069 h 1005601"/>
                <a:gd name="connsiteX25" fmla="*/ 816768 w 1999456"/>
                <a:gd name="connsiteY25" fmla="*/ 160257 h 1005601"/>
                <a:gd name="connsiteX26" fmla="*/ 904875 w 1999456"/>
                <a:gd name="connsiteY26" fmla="*/ 110251 h 1005601"/>
                <a:gd name="connsiteX27" fmla="*/ 1012825 w 1999456"/>
                <a:gd name="connsiteY27" fmla="*/ 83263 h 1005601"/>
                <a:gd name="connsiteX28" fmla="*/ 1067593 w 1999456"/>
                <a:gd name="connsiteY28" fmla="*/ 107869 h 1005601"/>
                <a:gd name="connsiteX29" fmla="*/ 1100931 w 1999456"/>
                <a:gd name="connsiteY29" fmla="*/ 74532 h 1005601"/>
                <a:gd name="connsiteX30" fmla="*/ 1217612 w 1999456"/>
                <a:gd name="connsiteY30" fmla="*/ 89613 h 1005601"/>
                <a:gd name="connsiteX31" fmla="*/ 1293812 w 1999456"/>
                <a:gd name="connsiteY31" fmla="*/ 86438 h 1005601"/>
                <a:gd name="connsiteX32" fmla="*/ 1373981 w 1999456"/>
                <a:gd name="connsiteY32" fmla="*/ 63419 h 1005601"/>
                <a:gd name="connsiteX33" fmla="*/ 1512886 w 1999456"/>
                <a:gd name="connsiteY33" fmla="*/ 713 h 1005601"/>
                <a:gd name="connsiteX34" fmla="*/ 1687511 w 1999456"/>
                <a:gd name="connsiteY34" fmla="*/ 64213 h 1005601"/>
                <a:gd name="connsiteX35" fmla="*/ 1999456 w 1999456"/>
                <a:gd name="connsiteY35" fmla="*/ 113426 h 1005601"/>
                <a:gd name="connsiteX0" fmla="*/ 69056 w 1999456"/>
                <a:gd name="connsiteY0" fmla="*/ 1005601 h 1005601"/>
                <a:gd name="connsiteX1" fmla="*/ 0 w 1999456"/>
                <a:gd name="connsiteY1" fmla="*/ 988932 h 1005601"/>
                <a:gd name="connsiteX2" fmla="*/ 9525 w 1999456"/>
                <a:gd name="connsiteY2" fmla="*/ 931782 h 1005601"/>
                <a:gd name="connsiteX3" fmla="*/ 0 w 1999456"/>
                <a:gd name="connsiteY3" fmla="*/ 912732 h 1005601"/>
                <a:gd name="connsiteX4" fmla="*/ 50006 w 1999456"/>
                <a:gd name="connsiteY4" fmla="*/ 881776 h 1005601"/>
                <a:gd name="connsiteX5" fmla="*/ 50006 w 1999456"/>
                <a:gd name="connsiteY5" fmla="*/ 798432 h 1005601"/>
                <a:gd name="connsiteX6" fmla="*/ 52387 w 1999456"/>
                <a:gd name="connsiteY6" fmla="*/ 779382 h 1005601"/>
                <a:gd name="connsiteX7" fmla="*/ 90487 w 1999456"/>
                <a:gd name="connsiteY7" fmla="*/ 755569 h 1005601"/>
                <a:gd name="connsiteX8" fmla="*/ 109537 w 1999456"/>
                <a:gd name="connsiteY8" fmla="*/ 684132 h 1005601"/>
                <a:gd name="connsiteX9" fmla="*/ 116681 w 1999456"/>
                <a:gd name="connsiteY9" fmla="*/ 646032 h 1005601"/>
                <a:gd name="connsiteX10" fmla="*/ 100012 w 1999456"/>
                <a:gd name="connsiteY10" fmla="*/ 624601 h 1005601"/>
                <a:gd name="connsiteX11" fmla="*/ 223837 w 1999456"/>
                <a:gd name="connsiteY11" fmla="*/ 565069 h 1005601"/>
                <a:gd name="connsiteX12" fmla="*/ 240506 w 1999456"/>
                <a:gd name="connsiteY12" fmla="*/ 567451 h 1005601"/>
                <a:gd name="connsiteX13" fmla="*/ 295275 w 1999456"/>
                <a:gd name="connsiteY13" fmla="*/ 481726 h 1005601"/>
                <a:gd name="connsiteX14" fmla="*/ 323850 w 1999456"/>
                <a:gd name="connsiteY14" fmla="*/ 472201 h 1005601"/>
                <a:gd name="connsiteX15" fmla="*/ 381000 w 1999456"/>
                <a:gd name="connsiteY15" fmla="*/ 436482 h 1005601"/>
                <a:gd name="connsiteX16" fmla="*/ 392906 w 1999456"/>
                <a:gd name="connsiteY16" fmla="*/ 412669 h 1005601"/>
                <a:gd name="connsiteX17" fmla="*/ 457200 w 1999456"/>
                <a:gd name="connsiteY17" fmla="*/ 415051 h 1005601"/>
                <a:gd name="connsiteX18" fmla="*/ 511968 w 1999456"/>
                <a:gd name="connsiteY18" fmla="*/ 355519 h 1005601"/>
                <a:gd name="connsiteX19" fmla="*/ 483393 w 1999456"/>
                <a:gd name="connsiteY19" fmla="*/ 312657 h 1005601"/>
                <a:gd name="connsiteX20" fmla="*/ 571500 w 1999456"/>
                <a:gd name="connsiteY20" fmla="*/ 274557 h 1005601"/>
                <a:gd name="connsiteX21" fmla="*/ 592931 w 1999456"/>
                <a:gd name="connsiteY21" fmla="*/ 229313 h 1005601"/>
                <a:gd name="connsiteX22" fmla="*/ 626268 w 1999456"/>
                <a:gd name="connsiteY22" fmla="*/ 226932 h 1005601"/>
                <a:gd name="connsiteX23" fmla="*/ 673893 w 1999456"/>
                <a:gd name="connsiteY23" fmla="*/ 193594 h 1005601"/>
                <a:gd name="connsiteX24" fmla="*/ 747712 w 1999456"/>
                <a:gd name="connsiteY24" fmla="*/ 184069 h 1005601"/>
                <a:gd name="connsiteX25" fmla="*/ 816768 w 1999456"/>
                <a:gd name="connsiteY25" fmla="*/ 160257 h 1005601"/>
                <a:gd name="connsiteX26" fmla="*/ 904875 w 1999456"/>
                <a:gd name="connsiteY26" fmla="*/ 110251 h 1005601"/>
                <a:gd name="connsiteX27" fmla="*/ 1012825 w 1999456"/>
                <a:gd name="connsiteY27" fmla="*/ 83263 h 1005601"/>
                <a:gd name="connsiteX28" fmla="*/ 1067593 w 1999456"/>
                <a:gd name="connsiteY28" fmla="*/ 107869 h 1005601"/>
                <a:gd name="connsiteX29" fmla="*/ 1100931 w 1999456"/>
                <a:gd name="connsiteY29" fmla="*/ 74532 h 1005601"/>
                <a:gd name="connsiteX30" fmla="*/ 1217612 w 1999456"/>
                <a:gd name="connsiteY30" fmla="*/ 89613 h 1005601"/>
                <a:gd name="connsiteX31" fmla="*/ 1293812 w 1999456"/>
                <a:gd name="connsiteY31" fmla="*/ 86438 h 1005601"/>
                <a:gd name="connsiteX32" fmla="*/ 1373981 w 1999456"/>
                <a:gd name="connsiteY32" fmla="*/ 63419 h 1005601"/>
                <a:gd name="connsiteX33" fmla="*/ 1512886 w 1999456"/>
                <a:gd name="connsiteY33" fmla="*/ 713 h 1005601"/>
                <a:gd name="connsiteX34" fmla="*/ 1687511 w 1999456"/>
                <a:gd name="connsiteY34" fmla="*/ 64213 h 1005601"/>
                <a:gd name="connsiteX35" fmla="*/ 1811336 w 1999456"/>
                <a:gd name="connsiteY35" fmla="*/ 121363 h 1005601"/>
                <a:gd name="connsiteX36" fmla="*/ 1999456 w 1999456"/>
                <a:gd name="connsiteY36" fmla="*/ 113426 h 1005601"/>
                <a:gd name="connsiteX0" fmla="*/ 69056 w 1999456"/>
                <a:gd name="connsiteY0" fmla="*/ 1005601 h 1005601"/>
                <a:gd name="connsiteX1" fmla="*/ 0 w 1999456"/>
                <a:gd name="connsiteY1" fmla="*/ 988932 h 1005601"/>
                <a:gd name="connsiteX2" fmla="*/ 9525 w 1999456"/>
                <a:gd name="connsiteY2" fmla="*/ 931782 h 1005601"/>
                <a:gd name="connsiteX3" fmla="*/ 0 w 1999456"/>
                <a:gd name="connsiteY3" fmla="*/ 912732 h 1005601"/>
                <a:gd name="connsiteX4" fmla="*/ 50006 w 1999456"/>
                <a:gd name="connsiteY4" fmla="*/ 881776 h 1005601"/>
                <a:gd name="connsiteX5" fmla="*/ 50006 w 1999456"/>
                <a:gd name="connsiteY5" fmla="*/ 798432 h 1005601"/>
                <a:gd name="connsiteX6" fmla="*/ 52387 w 1999456"/>
                <a:gd name="connsiteY6" fmla="*/ 779382 h 1005601"/>
                <a:gd name="connsiteX7" fmla="*/ 90487 w 1999456"/>
                <a:gd name="connsiteY7" fmla="*/ 755569 h 1005601"/>
                <a:gd name="connsiteX8" fmla="*/ 109537 w 1999456"/>
                <a:gd name="connsiteY8" fmla="*/ 684132 h 1005601"/>
                <a:gd name="connsiteX9" fmla="*/ 116681 w 1999456"/>
                <a:gd name="connsiteY9" fmla="*/ 646032 h 1005601"/>
                <a:gd name="connsiteX10" fmla="*/ 100012 w 1999456"/>
                <a:gd name="connsiteY10" fmla="*/ 624601 h 1005601"/>
                <a:gd name="connsiteX11" fmla="*/ 223837 w 1999456"/>
                <a:gd name="connsiteY11" fmla="*/ 565069 h 1005601"/>
                <a:gd name="connsiteX12" fmla="*/ 240506 w 1999456"/>
                <a:gd name="connsiteY12" fmla="*/ 567451 h 1005601"/>
                <a:gd name="connsiteX13" fmla="*/ 295275 w 1999456"/>
                <a:gd name="connsiteY13" fmla="*/ 481726 h 1005601"/>
                <a:gd name="connsiteX14" fmla="*/ 323850 w 1999456"/>
                <a:gd name="connsiteY14" fmla="*/ 472201 h 1005601"/>
                <a:gd name="connsiteX15" fmla="*/ 381000 w 1999456"/>
                <a:gd name="connsiteY15" fmla="*/ 436482 h 1005601"/>
                <a:gd name="connsiteX16" fmla="*/ 392906 w 1999456"/>
                <a:gd name="connsiteY16" fmla="*/ 412669 h 1005601"/>
                <a:gd name="connsiteX17" fmla="*/ 457200 w 1999456"/>
                <a:gd name="connsiteY17" fmla="*/ 415051 h 1005601"/>
                <a:gd name="connsiteX18" fmla="*/ 511968 w 1999456"/>
                <a:gd name="connsiteY18" fmla="*/ 355519 h 1005601"/>
                <a:gd name="connsiteX19" fmla="*/ 483393 w 1999456"/>
                <a:gd name="connsiteY19" fmla="*/ 312657 h 1005601"/>
                <a:gd name="connsiteX20" fmla="*/ 571500 w 1999456"/>
                <a:gd name="connsiteY20" fmla="*/ 274557 h 1005601"/>
                <a:gd name="connsiteX21" fmla="*/ 592931 w 1999456"/>
                <a:gd name="connsiteY21" fmla="*/ 229313 h 1005601"/>
                <a:gd name="connsiteX22" fmla="*/ 626268 w 1999456"/>
                <a:gd name="connsiteY22" fmla="*/ 226932 h 1005601"/>
                <a:gd name="connsiteX23" fmla="*/ 673893 w 1999456"/>
                <a:gd name="connsiteY23" fmla="*/ 193594 h 1005601"/>
                <a:gd name="connsiteX24" fmla="*/ 747712 w 1999456"/>
                <a:gd name="connsiteY24" fmla="*/ 184069 h 1005601"/>
                <a:gd name="connsiteX25" fmla="*/ 816768 w 1999456"/>
                <a:gd name="connsiteY25" fmla="*/ 160257 h 1005601"/>
                <a:gd name="connsiteX26" fmla="*/ 904875 w 1999456"/>
                <a:gd name="connsiteY26" fmla="*/ 110251 h 1005601"/>
                <a:gd name="connsiteX27" fmla="*/ 1012825 w 1999456"/>
                <a:gd name="connsiteY27" fmla="*/ 83263 h 1005601"/>
                <a:gd name="connsiteX28" fmla="*/ 1067593 w 1999456"/>
                <a:gd name="connsiteY28" fmla="*/ 107869 h 1005601"/>
                <a:gd name="connsiteX29" fmla="*/ 1100931 w 1999456"/>
                <a:gd name="connsiteY29" fmla="*/ 74532 h 1005601"/>
                <a:gd name="connsiteX30" fmla="*/ 1217612 w 1999456"/>
                <a:gd name="connsiteY30" fmla="*/ 89613 h 1005601"/>
                <a:gd name="connsiteX31" fmla="*/ 1293812 w 1999456"/>
                <a:gd name="connsiteY31" fmla="*/ 86438 h 1005601"/>
                <a:gd name="connsiteX32" fmla="*/ 1373981 w 1999456"/>
                <a:gd name="connsiteY32" fmla="*/ 63419 h 1005601"/>
                <a:gd name="connsiteX33" fmla="*/ 1512886 w 1999456"/>
                <a:gd name="connsiteY33" fmla="*/ 713 h 1005601"/>
                <a:gd name="connsiteX34" fmla="*/ 1687511 w 1999456"/>
                <a:gd name="connsiteY34" fmla="*/ 64213 h 1005601"/>
                <a:gd name="connsiteX35" fmla="*/ 1811336 w 1999456"/>
                <a:gd name="connsiteY35" fmla="*/ 121363 h 1005601"/>
                <a:gd name="connsiteX36" fmla="*/ 1912936 w 1999456"/>
                <a:gd name="connsiteY36" fmla="*/ 137238 h 1005601"/>
                <a:gd name="connsiteX37" fmla="*/ 1999456 w 1999456"/>
                <a:gd name="connsiteY37" fmla="*/ 113426 h 1005601"/>
                <a:gd name="connsiteX0" fmla="*/ 69056 w 1999456"/>
                <a:gd name="connsiteY0" fmla="*/ 1043374 h 1043374"/>
                <a:gd name="connsiteX1" fmla="*/ 0 w 1999456"/>
                <a:gd name="connsiteY1" fmla="*/ 1026705 h 1043374"/>
                <a:gd name="connsiteX2" fmla="*/ 9525 w 1999456"/>
                <a:gd name="connsiteY2" fmla="*/ 969555 h 1043374"/>
                <a:gd name="connsiteX3" fmla="*/ 0 w 1999456"/>
                <a:gd name="connsiteY3" fmla="*/ 950505 h 1043374"/>
                <a:gd name="connsiteX4" fmla="*/ 50006 w 1999456"/>
                <a:gd name="connsiteY4" fmla="*/ 919549 h 1043374"/>
                <a:gd name="connsiteX5" fmla="*/ 50006 w 1999456"/>
                <a:gd name="connsiteY5" fmla="*/ 836205 h 1043374"/>
                <a:gd name="connsiteX6" fmla="*/ 52387 w 1999456"/>
                <a:gd name="connsiteY6" fmla="*/ 817155 h 1043374"/>
                <a:gd name="connsiteX7" fmla="*/ 90487 w 1999456"/>
                <a:gd name="connsiteY7" fmla="*/ 793342 h 1043374"/>
                <a:gd name="connsiteX8" fmla="*/ 109537 w 1999456"/>
                <a:gd name="connsiteY8" fmla="*/ 721905 h 1043374"/>
                <a:gd name="connsiteX9" fmla="*/ 116681 w 1999456"/>
                <a:gd name="connsiteY9" fmla="*/ 683805 h 1043374"/>
                <a:gd name="connsiteX10" fmla="*/ 100012 w 1999456"/>
                <a:gd name="connsiteY10" fmla="*/ 662374 h 1043374"/>
                <a:gd name="connsiteX11" fmla="*/ 223837 w 1999456"/>
                <a:gd name="connsiteY11" fmla="*/ 602842 h 1043374"/>
                <a:gd name="connsiteX12" fmla="*/ 240506 w 1999456"/>
                <a:gd name="connsiteY12" fmla="*/ 605224 h 1043374"/>
                <a:gd name="connsiteX13" fmla="*/ 295275 w 1999456"/>
                <a:gd name="connsiteY13" fmla="*/ 519499 h 1043374"/>
                <a:gd name="connsiteX14" fmla="*/ 323850 w 1999456"/>
                <a:gd name="connsiteY14" fmla="*/ 509974 h 1043374"/>
                <a:gd name="connsiteX15" fmla="*/ 381000 w 1999456"/>
                <a:gd name="connsiteY15" fmla="*/ 474255 h 1043374"/>
                <a:gd name="connsiteX16" fmla="*/ 392906 w 1999456"/>
                <a:gd name="connsiteY16" fmla="*/ 450442 h 1043374"/>
                <a:gd name="connsiteX17" fmla="*/ 457200 w 1999456"/>
                <a:gd name="connsiteY17" fmla="*/ 452824 h 1043374"/>
                <a:gd name="connsiteX18" fmla="*/ 511968 w 1999456"/>
                <a:gd name="connsiteY18" fmla="*/ 393292 h 1043374"/>
                <a:gd name="connsiteX19" fmla="*/ 483393 w 1999456"/>
                <a:gd name="connsiteY19" fmla="*/ 350430 h 1043374"/>
                <a:gd name="connsiteX20" fmla="*/ 571500 w 1999456"/>
                <a:gd name="connsiteY20" fmla="*/ 312330 h 1043374"/>
                <a:gd name="connsiteX21" fmla="*/ 592931 w 1999456"/>
                <a:gd name="connsiteY21" fmla="*/ 267086 h 1043374"/>
                <a:gd name="connsiteX22" fmla="*/ 626268 w 1999456"/>
                <a:gd name="connsiteY22" fmla="*/ 264705 h 1043374"/>
                <a:gd name="connsiteX23" fmla="*/ 673893 w 1999456"/>
                <a:gd name="connsiteY23" fmla="*/ 231367 h 1043374"/>
                <a:gd name="connsiteX24" fmla="*/ 747712 w 1999456"/>
                <a:gd name="connsiteY24" fmla="*/ 221842 h 1043374"/>
                <a:gd name="connsiteX25" fmla="*/ 816768 w 1999456"/>
                <a:gd name="connsiteY25" fmla="*/ 198030 h 1043374"/>
                <a:gd name="connsiteX26" fmla="*/ 904875 w 1999456"/>
                <a:gd name="connsiteY26" fmla="*/ 148024 h 1043374"/>
                <a:gd name="connsiteX27" fmla="*/ 1012825 w 1999456"/>
                <a:gd name="connsiteY27" fmla="*/ 121036 h 1043374"/>
                <a:gd name="connsiteX28" fmla="*/ 1067593 w 1999456"/>
                <a:gd name="connsiteY28" fmla="*/ 145642 h 1043374"/>
                <a:gd name="connsiteX29" fmla="*/ 1100931 w 1999456"/>
                <a:gd name="connsiteY29" fmla="*/ 112305 h 1043374"/>
                <a:gd name="connsiteX30" fmla="*/ 1217612 w 1999456"/>
                <a:gd name="connsiteY30" fmla="*/ 127386 h 1043374"/>
                <a:gd name="connsiteX31" fmla="*/ 1293812 w 1999456"/>
                <a:gd name="connsiteY31" fmla="*/ 124211 h 1043374"/>
                <a:gd name="connsiteX32" fmla="*/ 1373981 w 1999456"/>
                <a:gd name="connsiteY32" fmla="*/ 101192 h 1043374"/>
                <a:gd name="connsiteX33" fmla="*/ 1512886 w 1999456"/>
                <a:gd name="connsiteY33" fmla="*/ 38486 h 1043374"/>
                <a:gd name="connsiteX34" fmla="*/ 1687511 w 1999456"/>
                <a:gd name="connsiteY34" fmla="*/ 101986 h 1043374"/>
                <a:gd name="connsiteX35" fmla="*/ 1722436 w 1999456"/>
                <a:gd name="connsiteY35" fmla="*/ 386 h 1043374"/>
                <a:gd name="connsiteX36" fmla="*/ 1912936 w 1999456"/>
                <a:gd name="connsiteY36" fmla="*/ 175011 h 1043374"/>
                <a:gd name="connsiteX37" fmla="*/ 1999456 w 1999456"/>
                <a:gd name="connsiteY37" fmla="*/ 151199 h 1043374"/>
                <a:gd name="connsiteX0" fmla="*/ 69056 w 1999456"/>
                <a:gd name="connsiteY0" fmla="*/ 1150943 h 1150943"/>
                <a:gd name="connsiteX1" fmla="*/ 0 w 1999456"/>
                <a:gd name="connsiteY1" fmla="*/ 1134274 h 1150943"/>
                <a:gd name="connsiteX2" fmla="*/ 9525 w 1999456"/>
                <a:gd name="connsiteY2" fmla="*/ 1077124 h 1150943"/>
                <a:gd name="connsiteX3" fmla="*/ 0 w 1999456"/>
                <a:gd name="connsiteY3" fmla="*/ 1058074 h 1150943"/>
                <a:gd name="connsiteX4" fmla="*/ 50006 w 1999456"/>
                <a:gd name="connsiteY4" fmla="*/ 1027118 h 1150943"/>
                <a:gd name="connsiteX5" fmla="*/ 50006 w 1999456"/>
                <a:gd name="connsiteY5" fmla="*/ 943774 h 1150943"/>
                <a:gd name="connsiteX6" fmla="*/ 52387 w 1999456"/>
                <a:gd name="connsiteY6" fmla="*/ 924724 h 1150943"/>
                <a:gd name="connsiteX7" fmla="*/ 90487 w 1999456"/>
                <a:gd name="connsiteY7" fmla="*/ 900911 h 1150943"/>
                <a:gd name="connsiteX8" fmla="*/ 109537 w 1999456"/>
                <a:gd name="connsiteY8" fmla="*/ 829474 h 1150943"/>
                <a:gd name="connsiteX9" fmla="*/ 116681 w 1999456"/>
                <a:gd name="connsiteY9" fmla="*/ 791374 h 1150943"/>
                <a:gd name="connsiteX10" fmla="*/ 100012 w 1999456"/>
                <a:gd name="connsiteY10" fmla="*/ 769943 h 1150943"/>
                <a:gd name="connsiteX11" fmla="*/ 223837 w 1999456"/>
                <a:gd name="connsiteY11" fmla="*/ 710411 h 1150943"/>
                <a:gd name="connsiteX12" fmla="*/ 240506 w 1999456"/>
                <a:gd name="connsiteY12" fmla="*/ 712793 h 1150943"/>
                <a:gd name="connsiteX13" fmla="*/ 295275 w 1999456"/>
                <a:gd name="connsiteY13" fmla="*/ 627068 h 1150943"/>
                <a:gd name="connsiteX14" fmla="*/ 323850 w 1999456"/>
                <a:gd name="connsiteY14" fmla="*/ 617543 h 1150943"/>
                <a:gd name="connsiteX15" fmla="*/ 381000 w 1999456"/>
                <a:gd name="connsiteY15" fmla="*/ 581824 h 1150943"/>
                <a:gd name="connsiteX16" fmla="*/ 392906 w 1999456"/>
                <a:gd name="connsiteY16" fmla="*/ 558011 h 1150943"/>
                <a:gd name="connsiteX17" fmla="*/ 457200 w 1999456"/>
                <a:gd name="connsiteY17" fmla="*/ 560393 h 1150943"/>
                <a:gd name="connsiteX18" fmla="*/ 511968 w 1999456"/>
                <a:gd name="connsiteY18" fmla="*/ 500861 h 1150943"/>
                <a:gd name="connsiteX19" fmla="*/ 483393 w 1999456"/>
                <a:gd name="connsiteY19" fmla="*/ 457999 h 1150943"/>
                <a:gd name="connsiteX20" fmla="*/ 571500 w 1999456"/>
                <a:gd name="connsiteY20" fmla="*/ 419899 h 1150943"/>
                <a:gd name="connsiteX21" fmla="*/ 592931 w 1999456"/>
                <a:gd name="connsiteY21" fmla="*/ 374655 h 1150943"/>
                <a:gd name="connsiteX22" fmla="*/ 626268 w 1999456"/>
                <a:gd name="connsiteY22" fmla="*/ 372274 h 1150943"/>
                <a:gd name="connsiteX23" fmla="*/ 673893 w 1999456"/>
                <a:gd name="connsiteY23" fmla="*/ 338936 h 1150943"/>
                <a:gd name="connsiteX24" fmla="*/ 747712 w 1999456"/>
                <a:gd name="connsiteY24" fmla="*/ 329411 h 1150943"/>
                <a:gd name="connsiteX25" fmla="*/ 816768 w 1999456"/>
                <a:gd name="connsiteY25" fmla="*/ 305599 h 1150943"/>
                <a:gd name="connsiteX26" fmla="*/ 904875 w 1999456"/>
                <a:gd name="connsiteY26" fmla="*/ 255593 h 1150943"/>
                <a:gd name="connsiteX27" fmla="*/ 1012825 w 1999456"/>
                <a:gd name="connsiteY27" fmla="*/ 228605 h 1150943"/>
                <a:gd name="connsiteX28" fmla="*/ 1067593 w 1999456"/>
                <a:gd name="connsiteY28" fmla="*/ 253211 h 1150943"/>
                <a:gd name="connsiteX29" fmla="*/ 1100931 w 1999456"/>
                <a:gd name="connsiteY29" fmla="*/ 219874 h 1150943"/>
                <a:gd name="connsiteX30" fmla="*/ 1217612 w 1999456"/>
                <a:gd name="connsiteY30" fmla="*/ 234955 h 1150943"/>
                <a:gd name="connsiteX31" fmla="*/ 1293812 w 1999456"/>
                <a:gd name="connsiteY31" fmla="*/ 231780 h 1150943"/>
                <a:gd name="connsiteX32" fmla="*/ 1373981 w 1999456"/>
                <a:gd name="connsiteY32" fmla="*/ 208761 h 1150943"/>
                <a:gd name="connsiteX33" fmla="*/ 1512886 w 1999456"/>
                <a:gd name="connsiteY33" fmla="*/ 146055 h 1150943"/>
                <a:gd name="connsiteX34" fmla="*/ 1687511 w 1999456"/>
                <a:gd name="connsiteY34" fmla="*/ 209555 h 1150943"/>
                <a:gd name="connsiteX35" fmla="*/ 1722436 w 1999456"/>
                <a:gd name="connsiteY35" fmla="*/ 107955 h 1150943"/>
                <a:gd name="connsiteX36" fmla="*/ 1627186 w 1999456"/>
                <a:gd name="connsiteY36" fmla="*/ 5 h 1150943"/>
                <a:gd name="connsiteX37" fmla="*/ 1999456 w 1999456"/>
                <a:gd name="connsiteY37" fmla="*/ 258768 h 1150943"/>
                <a:gd name="connsiteX0" fmla="*/ 69056 w 1728191"/>
                <a:gd name="connsiteY0" fmla="*/ 1565275 h 1565275"/>
                <a:gd name="connsiteX1" fmla="*/ 0 w 1728191"/>
                <a:gd name="connsiteY1" fmla="*/ 1548606 h 1565275"/>
                <a:gd name="connsiteX2" fmla="*/ 9525 w 1728191"/>
                <a:gd name="connsiteY2" fmla="*/ 1491456 h 1565275"/>
                <a:gd name="connsiteX3" fmla="*/ 0 w 1728191"/>
                <a:gd name="connsiteY3" fmla="*/ 1472406 h 1565275"/>
                <a:gd name="connsiteX4" fmla="*/ 50006 w 1728191"/>
                <a:gd name="connsiteY4" fmla="*/ 1441450 h 1565275"/>
                <a:gd name="connsiteX5" fmla="*/ 50006 w 1728191"/>
                <a:gd name="connsiteY5" fmla="*/ 1358106 h 1565275"/>
                <a:gd name="connsiteX6" fmla="*/ 52387 w 1728191"/>
                <a:gd name="connsiteY6" fmla="*/ 1339056 h 1565275"/>
                <a:gd name="connsiteX7" fmla="*/ 90487 w 1728191"/>
                <a:gd name="connsiteY7" fmla="*/ 1315243 h 1565275"/>
                <a:gd name="connsiteX8" fmla="*/ 109537 w 1728191"/>
                <a:gd name="connsiteY8" fmla="*/ 1243806 h 1565275"/>
                <a:gd name="connsiteX9" fmla="*/ 116681 w 1728191"/>
                <a:gd name="connsiteY9" fmla="*/ 1205706 h 1565275"/>
                <a:gd name="connsiteX10" fmla="*/ 100012 w 1728191"/>
                <a:gd name="connsiteY10" fmla="*/ 1184275 h 1565275"/>
                <a:gd name="connsiteX11" fmla="*/ 223837 w 1728191"/>
                <a:gd name="connsiteY11" fmla="*/ 1124743 h 1565275"/>
                <a:gd name="connsiteX12" fmla="*/ 240506 w 1728191"/>
                <a:gd name="connsiteY12" fmla="*/ 1127125 h 1565275"/>
                <a:gd name="connsiteX13" fmla="*/ 295275 w 1728191"/>
                <a:gd name="connsiteY13" fmla="*/ 1041400 h 1565275"/>
                <a:gd name="connsiteX14" fmla="*/ 323850 w 1728191"/>
                <a:gd name="connsiteY14" fmla="*/ 1031875 h 1565275"/>
                <a:gd name="connsiteX15" fmla="*/ 381000 w 1728191"/>
                <a:gd name="connsiteY15" fmla="*/ 996156 h 1565275"/>
                <a:gd name="connsiteX16" fmla="*/ 392906 w 1728191"/>
                <a:gd name="connsiteY16" fmla="*/ 972343 h 1565275"/>
                <a:gd name="connsiteX17" fmla="*/ 457200 w 1728191"/>
                <a:gd name="connsiteY17" fmla="*/ 974725 h 1565275"/>
                <a:gd name="connsiteX18" fmla="*/ 511968 w 1728191"/>
                <a:gd name="connsiteY18" fmla="*/ 915193 h 1565275"/>
                <a:gd name="connsiteX19" fmla="*/ 483393 w 1728191"/>
                <a:gd name="connsiteY19" fmla="*/ 872331 h 1565275"/>
                <a:gd name="connsiteX20" fmla="*/ 571500 w 1728191"/>
                <a:gd name="connsiteY20" fmla="*/ 834231 h 1565275"/>
                <a:gd name="connsiteX21" fmla="*/ 592931 w 1728191"/>
                <a:gd name="connsiteY21" fmla="*/ 788987 h 1565275"/>
                <a:gd name="connsiteX22" fmla="*/ 626268 w 1728191"/>
                <a:gd name="connsiteY22" fmla="*/ 786606 h 1565275"/>
                <a:gd name="connsiteX23" fmla="*/ 673893 w 1728191"/>
                <a:gd name="connsiteY23" fmla="*/ 753268 h 1565275"/>
                <a:gd name="connsiteX24" fmla="*/ 747712 w 1728191"/>
                <a:gd name="connsiteY24" fmla="*/ 743743 h 1565275"/>
                <a:gd name="connsiteX25" fmla="*/ 816768 w 1728191"/>
                <a:gd name="connsiteY25" fmla="*/ 719931 h 1565275"/>
                <a:gd name="connsiteX26" fmla="*/ 904875 w 1728191"/>
                <a:gd name="connsiteY26" fmla="*/ 669925 h 1565275"/>
                <a:gd name="connsiteX27" fmla="*/ 1012825 w 1728191"/>
                <a:gd name="connsiteY27" fmla="*/ 642937 h 1565275"/>
                <a:gd name="connsiteX28" fmla="*/ 1067593 w 1728191"/>
                <a:gd name="connsiteY28" fmla="*/ 667543 h 1565275"/>
                <a:gd name="connsiteX29" fmla="*/ 1100931 w 1728191"/>
                <a:gd name="connsiteY29" fmla="*/ 634206 h 1565275"/>
                <a:gd name="connsiteX30" fmla="*/ 1217612 w 1728191"/>
                <a:gd name="connsiteY30" fmla="*/ 649287 h 1565275"/>
                <a:gd name="connsiteX31" fmla="*/ 1293812 w 1728191"/>
                <a:gd name="connsiteY31" fmla="*/ 646112 h 1565275"/>
                <a:gd name="connsiteX32" fmla="*/ 1373981 w 1728191"/>
                <a:gd name="connsiteY32" fmla="*/ 623093 h 1565275"/>
                <a:gd name="connsiteX33" fmla="*/ 1512886 w 1728191"/>
                <a:gd name="connsiteY33" fmla="*/ 560387 h 1565275"/>
                <a:gd name="connsiteX34" fmla="*/ 1687511 w 1728191"/>
                <a:gd name="connsiteY34" fmla="*/ 623887 h 1565275"/>
                <a:gd name="connsiteX35" fmla="*/ 1722436 w 1728191"/>
                <a:gd name="connsiteY35" fmla="*/ 522287 h 1565275"/>
                <a:gd name="connsiteX36" fmla="*/ 1627186 w 1728191"/>
                <a:gd name="connsiteY36" fmla="*/ 414337 h 1565275"/>
                <a:gd name="connsiteX37" fmla="*/ 1440656 w 1728191"/>
                <a:gd name="connsiteY37" fmla="*/ 0 h 1565275"/>
                <a:gd name="connsiteX0" fmla="*/ 69056 w 1728191"/>
                <a:gd name="connsiteY0" fmla="*/ 1565275 h 1565275"/>
                <a:gd name="connsiteX1" fmla="*/ 0 w 1728191"/>
                <a:gd name="connsiteY1" fmla="*/ 1548606 h 1565275"/>
                <a:gd name="connsiteX2" fmla="*/ 9525 w 1728191"/>
                <a:gd name="connsiteY2" fmla="*/ 1491456 h 1565275"/>
                <a:gd name="connsiteX3" fmla="*/ 0 w 1728191"/>
                <a:gd name="connsiteY3" fmla="*/ 1472406 h 1565275"/>
                <a:gd name="connsiteX4" fmla="*/ 50006 w 1728191"/>
                <a:gd name="connsiteY4" fmla="*/ 1441450 h 1565275"/>
                <a:gd name="connsiteX5" fmla="*/ 50006 w 1728191"/>
                <a:gd name="connsiteY5" fmla="*/ 1358106 h 1565275"/>
                <a:gd name="connsiteX6" fmla="*/ 52387 w 1728191"/>
                <a:gd name="connsiteY6" fmla="*/ 1339056 h 1565275"/>
                <a:gd name="connsiteX7" fmla="*/ 90487 w 1728191"/>
                <a:gd name="connsiteY7" fmla="*/ 1315243 h 1565275"/>
                <a:gd name="connsiteX8" fmla="*/ 109537 w 1728191"/>
                <a:gd name="connsiteY8" fmla="*/ 1243806 h 1565275"/>
                <a:gd name="connsiteX9" fmla="*/ 116681 w 1728191"/>
                <a:gd name="connsiteY9" fmla="*/ 1205706 h 1565275"/>
                <a:gd name="connsiteX10" fmla="*/ 100012 w 1728191"/>
                <a:gd name="connsiteY10" fmla="*/ 1184275 h 1565275"/>
                <a:gd name="connsiteX11" fmla="*/ 223837 w 1728191"/>
                <a:gd name="connsiteY11" fmla="*/ 1124743 h 1565275"/>
                <a:gd name="connsiteX12" fmla="*/ 240506 w 1728191"/>
                <a:gd name="connsiteY12" fmla="*/ 1127125 h 1565275"/>
                <a:gd name="connsiteX13" fmla="*/ 295275 w 1728191"/>
                <a:gd name="connsiteY13" fmla="*/ 1041400 h 1565275"/>
                <a:gd name="connsiteX14" fmla="*/ 323850 w 1728191"/>
                <a:gd name="connsiteY14" fmla="*/ 1031875 h 1565275"/>
                <a:gd name="connsiteX15" fmla="*/ 381000 w 1728191"/>
                <a:gd name="connsiteY15" fmla="*/ 996156 h 1565275"/>
                <a:gd name="connsiteX16" fmla="*/ 392906 w 1728191"/>
                <a:gd name="connsiteY16" fmla="*/ 972343 h 1565275"/>
                <a:gd name="connsiteX17" fmla="*/ 457200 w 1728191"/>
                <a:gd name="connsiteY17" fmla="*/ 974725 h 1565275"/>
                <a:gd name="connsiteX18" fmla="*/ 511968 w 1728191"/>
                <a:gd name="connsiteY18" fmla="*/ 915193 h 1565275"/>
                <a:gd name="connsiteX19" fmla="*/ 483393 w 1728191"/>
                <a:gd name="connsiteY19" fmla="*/ 872331 h 1565275"/>
                <a:gd name="connsiteX20" fmla="*/ 571500 w 1728191"/>
                <a:gd name="connsiteY20" fmla="*/ 834231 h 1565275"/>
                <a:gd name="connsiteX21" fmla="*/ 592931 w 1728191"/>
                <a:gd name="connsiteY21" fmla="*/ 788987 h 1565275"/>
                <a:gd name="connsiteX22" fmla="*/ 626268 w 1728191"/>
                <a:gd name="connsiteY22" fmla="*/ 786606 h 1565275"/>
                <a:gd name="connsiteX23" fmla="*/ 673893 w 1728191"/>
                <a:gd name="connsiteY23" fmla="*/ 753268 h 1565275"/>
                <a:gd name="connsiteX24" fmla="*/ 747712 w 1728191"/>
                <a:gd name="connsiteY24" fmla="*/ 743743 h 1565275"/>
                <a:gd name="connsiteX25" fmla="*/ 816768 w 1728191"/>
                <a:gd name="connsiteY25" fmla="*/ 719931 h 1565275"/>
                <a:gd name="connsiteX26" fmla="*/ 904875 w 1728191"/>
                <a:gd name="connsiteY26" fmla="*/ 669925 h 1565275"/>
                <a:gd name="connsiteX27" fmla="*/ 1012825 w 1728191"/>
                <a:gd name="connsiteY27" fmla="*/ 642937 h 1565275"/>
                <a:gd name="connsiteX28" fmla="*/ 1067593 w 1728191"/>
                <a:gd name="connsiteY28" fmla="*/ 667543 h 1565275"/>
                <a:gd name="connsiteX29" fmla="*/ 1100931 w 1728191"/>
                <a:gd name="connsiteY29" fmla="*/ 634206 h 1565275"/>
                <a:gd name="connsiteX30" fmla="*/ 1217612 w 1728191"/>
                <a:gd name="connsiteY30" fmla="*/ 649287 h 1565275"/>
                <a:gd name="connsiteX31" fmla="*/ 1293812 w 1728191"/>
                <a:gd name="connsiteY31" fmla="*/ 646112 h 1565275"/>
                <a:gd name="connsiteX32" fmla="*/ 1373981 w 1728191"/>
                <a:gd name="connsiteY32" fmla="*/ 623093 h 1565275"/>
                <a:gd name="connsiteX33" fmla="*/ 1512886 w 1728191"/>
                <a:gd name="connsiteY33" fmla="*/ 560387 h 1565275"/>
                <a:gd name="connsiteX34" fmla="*/ 1687511 w 1728191"/>
                <a:gd name="connsiteY34" fmla="*/ 623887 h 1565275"/>
                <a:gd name="connsiteX35" fmla="*/ 1722436 w 1728191"/>
                <a:gd name="connsiteY35" fmla="*/ 522287 h 1565275"/>
                <a:gd name="connsiteX36" fmla="*/ 1627186 w 1728191"/>
                <a:gd name="connsiteY36" fmla="*/ 414337 h 1565275"/>
                <a:gd name="connsiteX37" fmla="*/ 1538287 w 1728191"/>
                <a:gd name="connsiteY37" fmla="*/ 341313 h 1565275"/>
                <a:gd name="connsiteX38" fmla="*/ 1440656 w 1728191"/>
                <a:gd name="connsiteY38" fmla="*/ 0 h 1565275"/>
                <a:gd name="connsiteX0" fmla="*/ 69056 w 1728191"/>
                <a:gd name="connsiteY0" fmla="*/ 1565275 h 1565275"/>
                <a:gd name="connsiteX1" fmla="*/ 0 w 1728191"/>
                <a:gd name="connsiteY1" fmla="*/ 1548606 h 1565275"/>
                <a:gd name="connsiteX2" fmla="*/ 9525 w 1728191"/>
                <a:gd name="connsiteY2" fmla="*/ 1491456 h 1565275"/>
                <a:gd name="connsiteX3" fmla="*/ 0 w 1728191"/>
                <a:gd name="connsiteY3" fmla="*/ 1472406 h 1565275"/>
                <a:gd name="connsiteX4" fmla="*/ 50006 w 1728191"/>
                <a:gd name="connsiteY4" fmla="*/ 1441450 h 1565275"/>
                <a:gd name="connsiteX5" fmla="*/ 50006 w 1728191"/>
                <a:gd name="connsiteY5" fmla="*/ 1358106 h 1565275"/>
                <a:gd name="connsiteX6" fmla="*/ 52387 w 1728191"/>
                <a:gd name="connsiteY6" fmla="*/ 1339056 h 1565275"/>
                <a:gd name="connsiteX7" fmla="*/ 90487 w 1728191"/>
                <a:gd name="connsiteY7" fmla="*/ 1315243 h 1565275"/>
                <a:gd name="connsiteX8" fmla="*/ 109537 w 1728191"/>
                <a:gd name="connsiteY8" fmla="*/ 1243806 h 1565275"/>
                <a:gd name="connsiteX9" fmla="*/ 116681 w 1728191"/>
                <a:gd name="connsiteY9" fmla="*/ 1205706 h 1565275"/>
                <a:gd name="connsiteX10" fmla="*/ 100012 w 1728191"/>
                <a:gd name="connsiteY10" fmla="*/ 1184275 h 1565275"/>
                <a:gd name="connsiteX11" fmla="*/ 223837 w 1728191"/>
                <a:gd name="connsiteY11" fmla="*/ 1124743 h 1565275"/>
                <a:gd name="connsiteX12" fmla="*/ 240506 w 1728191"/>
                <a:gd name="connsiteY12" fmla="*/ 1127125 h 1565275"/>
                <a:gd name="connsiteX13" fmla="*/ 295275 w 1728191"/>
                <a:gd name="connsiteY13" fmla="*/ 1041400 h 1565275"/>
                <a:gd name="connsiteX14" fmla="*/ 323850 w 1728191"/>
                <a:gd name="connsiteY14" fmla="*/ 1031875 h 1565275"/>
                <a:gd name="connsiteX15" fmla="*/ 381000 w 1728191"/>
                <a:gd name="connsiteY15" fmla="*/ 996156 h 1565275"/>
                <a:gd name="connsiteX16" fmla="*/ 392906 w 1728191"/>
                <a:gd name="connsiteY16" fmla="*/ 972343 h 1565275"/>
                <a:gd name="connsiteX17" fmla="*/ 457200 w 1728191"/>
                <a:gd name="connsiteY17" fmla="*/ 974725 h 1565275"/>
                <a:gd name="connsiteX18" fmla="*/ 511968 w 1728191"/>
                <a:gd name="connsiteY18" fmla="*/ 915193 h 1565275"/>
                <a:gd name="connsiteX19" fmla="*/ 483393 w 1728191"/>
                <a:gd name="connsiteY19" fmla="*/ 872331 h 1565275"/>
                <a:gd name="connsiteX20" fmla="*/ 571500 w 1728191"/>
                <a:gd name="connsiteY20" fmla="*/ 834231 h 1565275"/>
                <a:gd name="connsiteX21" fmla="*/ 592931 w 1728191"/>
                <a:gd name="connsiteY21" fmla="*/ 788987 h 1565275"/>
                <a:gd name="connsiteX22" fmla="*/ 626268 w 1728191"/>
                <a:gd name="connsiteY22" fmla="*/ 786606 h 1565275"/>
                <a:gd name="connsiteX23" fmla="*/ 673893 w 1728191"/>
                <a:gd name="connsiteY23" fmla="*/ 753268 h 1565275"/>
                <a:gd name="connsiteX24" fmla="*/ 747712 w 1728191"/>
                <a:gd name="connsiteY24" fmla="*/ 743743 h 1565275"/>
                <a:gd name="connsiteX25" fmla="*/ 816768 w 1728191"/>
                <a:gd name="connsiteY25" fmla="*/ 719931 h 1565275"/>
                <a:gd name="connsiteX26" fmla="*/ 904875 w 1728191"/>
                <a:gd name="connsiteY26" fmla="*/ 669925 h 1565275"/>
                <a:gd name="connsiteX27" fmla="*/ 1012825 w 1728191"/>
                <a:gd name="connsiteY27" fmla="*/ 642937 h 1565275"/>
                <a:gd name="connsiteX28" fmla="*/ 1067593 w 1728191"/>
                <a:gd name="connsiteY28" fmla="*/ 667543 h 1565275"/>
                <a:gd name="connsiteX29" fmla="*/ 1100931 w 1728191"/>
                <a:gd name="connsiteY29" fmla="*/ 634206 h 1565275"/>
                <a:gd name="connsiteX30" fmla="*/ 1217612 w 1728191"/>
                <a:gd name="connsiteY30" fmla="*/ 649287 h 1565275"/>
                <a:gd name="connsiteX31" fmla="*/ 1293812 w 1728191"/>
                <a:gd name="connsiteY31" fmla="*/ 646112 h 1565275"/>
                <a:gd name="connsiteX32" fmla="*/ 1373981 w 1728191"/>
                <a:gd name="connsiteY32" fmla="*/ 623093 h 1565275"/>
                <a:gd name="connsiteX33" fmla="*/ 1512886 w 1728191"/>
                <a:gd name="connsiteY33" fmla="*/ 560387 h 1565275"/>
                <a:gd name="connsiteX34" fmla="*/ 1687511 w 1728191"/>
                <a:gd name="connsiteY34" fmla="*/ 623887 h 1565275"/>
                <a:gd name="connsiteX35" fmla="*/ 1722436 w 1728191"/>
                <a:gd name="connsiteY35" fmla="*/ 522287 h 1565275"/>
                <a:gd name="connsiteX36" fmla="*/ 1627186 w 1728191"/>
                <a:gd name="connsiteY36" fmla="*/ 414337 h 1565275"/>
                <a:gd name="connsiteX37" fmla="*/ 1538287 w 1728191"/>
                <a:gd name="connsiteY37" fmla="*/ 341313 h 1565275"/>
                <a:gd name="connsiteX38" fmla="*/ 1512887 w 1728191"/>
                <a:gd name="connsiteY38" fmla="*/ 207963 h 1565275"/>
                <a:gd name="connsiteX39" fmla="*/ 1440656 w 1728191"/>
                <a:gd name="connsiteY39" fmla="*/ 0 h 1565275"/>
                <a:gd name="connsiteX0" fmla="*/ 69056 w 1728191"/>
                <a:gd name="connsiteY0" fmla="*/ 1565275 h 1565275"/>
                <a:gd name="connsiteX1" fmla="*/ 0 w 1728191"/>
                <a:gd name="connsiteY1" fmla="*/ 1548606 h 1565275"/>
                <a:gd name="connsiteX2" fmla="*/ 9525 w 1728191"/>
                <a:gd name="connsiteY2" fmla="*/ 1491456 h 1565275"/>
                <a:gd name="connsiteX3" fmla="*/ 0 w 1728191"/>
                <a:gd name="connsiteY3" fmla="*/ 1472406 h 1565275"/>
                <a:gd name="connsiteX4" fmla="*/ 50006 w 1728191"/>
                <a:gd name="connsiteY4" fmla="*/ 1441450 h 1565275"/>
                <a:gd name="connsiteX5" fmla="*/ 50006 w 1728191"/>
                <a:gd name="connsiteY5" fmla="*/ 1358106 h 1565275"/>
                <a:gd name="connsiteX6" fmla="*/ 52387 w 1728191"/>
                <a:gd name="connsiteY6" fmla="*/ 1339056 h 1565275"/>
                <a:gd name="connsiteX7" fmla="*/ 90487 w 1728191"/>
                <a:gd name="connsiteY7" fmla="*/ 1315243 h 1565275"/>
                <a:gd name="connsiteX8" fmla="*/ 109537 w 1728191"/>
                <a:gd name="connsiteY8" fmla="*/ 1243806 h 1565275"/>
                <a:gd name="connsiteX9" fmla="*/ 116681 w 1728191"/>
                <a:gd name="connsiteY9" fmla="*/ 1205706 h 1565275"/>
                <a:gd name="connsiteX10" fmla="*/ 100012 w 1728191"/>
                <a:gd name="connsiteY10" fmla="*/ 1184275 h 1565275"/>
                <a:gd name="connsiteX11" fmla="*/ 223837 w 1728191"/>
                <a:gd name="connsiteY11" fmla="*/ 1124743 h 1565275"/>
                <a:gd name="connsiteX12" fmla="*/ 240506 w 1728191"/>
                <a:gd name="connsiteY12" fmla="*/ 1127125 h 1565275"/>
                <a:gd name="connsiteX13" fmla="*/ 295275 w 1728191"/>
                <a:gd name="connsiteY13" fmla="*/ 1041400 h 1565275"/>
                <a:gd name="connsiteX14" fmla="*/ 323850 w 1728191"/>
                <a:gd name="connsiteY14" fmla="*/ 1031875 h 1565275"/>
                <a:gd name="connsiteX15" fmla="*/ 381000 w 1728191"/>
                <a:gd name="connsiteY15" fmla="*/ 996156 h 1565275"/>
                <a:gd name="connsiteX16" fmla="*/ 392906 w 1728191"/>
                <a:gd name="connsiteY16" fmla="*/ 972343 h 1565275"/>
                <a:gd name="connsiteX17" fmla="*/ 457200 w 1728191"/>
                <a:gd name="connsiteY17" fmla="*/ 974725 h 1565275"/>
                <a:gd name="connsiteX18" fmla="*/ 511968 w 1728191"/>
                <a:gd name="connsiteY18" fmla="*/ 915193 h 1565275"/>
                <a:gd name="connsiteX19" fmla="*/ 483393 w 1728191"/>
                <a:gd name="connsiteY19" fmla="*/ 872331 h 1565275"/>
                <a:gd name="connsiteX20" fmla="*/ 571500 w 1728191"/>
                <a:gd name="connsiteY20" fmla="*/ 834231 h 1565275"/>
                <a:gd name="connsiteX21" fmla="*/ 592931 w 1728191"/>
                <a:gd name="connsiteY21" fmla="*/ 788987 h 1565275"/>
                <a:gd name="connsiteX22" fmla="*/ 626268 w 1728191"/>
                <a:gd name="connsiteY22" fmla="*/ 786606 h 1565275"/>
                <a:gd name="connsiteX23" fmla="*/ 673893 w 1728191"/>
                <a:gd name="connsiteY23" fmla="*/ 753268 h 1565275"/>
                <a:gd name="connsiteX24" fmla="*/ 747712 w 1728191"/>
                <a:gd name="connsiteY24" fmla="*/ 743743 h 1565275"/>
                <a:gd name="connsiteX25" fmla="*/ 816768 w 1728191"/>
                <a:gd name="connsiteY25" fmla="*/ 719931 h 1565275"/>
                <a:gd name="connsiteX26" fmla="*/ 904875 w 1728191"/>
                <a:gd name="connsiteY26" fmla="*/ 669925 h 1565275"/>
                <a:gd name="connsiteX27" fmla="*/ 1012825 w 1728191"/>
                <a:gd name="connsiteY27" fmla="*/ 642937 h 1565275"/>
                <a:gd name="connsiteX28" fmla="*/ 1067593 w 1728191"/>
                <a:gd name="connsiteY28" fmla="*/ 667543 h 1565275"/>
                <a:gd name="connsiteX29" fmla="*/ 1100931 w 1728191"/>
                <a:gd name="connsiteY29" fmla="*/ 634206 h 1565275"/>
                <a:gd name="connsiteX30" fmla="*/ 1217612 w 1728191"/>
                <a:gd name="connsiteY30" fmla="*/ 649287 h 1565275"/>
                <a:gd name="connsiteX31" fmla="*/ 1293812 w 1728191"/>
                <a:gd name="connsiteY31" fmla="*/ 646112 h 1565275"/>
                <a:gd name="connsiteX32" fmla="*/ 1373981 w 1728191"/>
                <a:gd name="connsiteY32" fmla="*/ 623093 h 1565275"/>
                <a:gd name="connsiteX33" fmla="*/ 1512886 w 1728191"/>
                <a:gd name="connsiteY33" fmla="*/ 560387 h 1565275"/>
                <a:gd name="connsiteX34" fmla="*/ 1687511 w 1728191"/>
                <a:gd name="connsiteY34" fmla="*/ 623887 h 1565275"/>
                <a:gd name="connsiteX35" fmla="*/ 1722436 w 1728191"/>
                <a:gd name="connsiteY35" fmla="*/ 522287 h 1565275"/>
                <a:gd name="connsiteX36" fmla="*/ 1627186 w 1728191"/>
                <a:gd name="connsiteY36" fmla="*/ 414337 h 1565275"/>
                <a:gd name="connsiteX37" fmla="*/ 1538287 w 1728191"/>
                <a:gd name="connsiteY37" fmla="*/ 341313 h 1565275"/>
                <a:gd name="connsiteX38" fmla="*/ 1512887 w 1728191"/>
                <a:gd name="connsiteY38" fmla="*/ 207963 h 1565275"/>
                <a:gd name="connsiteX39" fmla="*/ 1484312 w 1728191"/>
                <a:gd name="connsiteY39" fmla="*/ 96838 h 1565275"/>
                <a:gd name="connsiteX40" fmla="*/ 1440656 w 1728191"/>
                <a:gd name="connsiteY40" fmla="*/ 0 h 1565275"/>
                <a:gd name="connsiteX0" fmla="*/ 69056 w 1728191"/>
                <a:gd name="connsiteY0" fmla="*/ 1581150 h 1581150"/>
                <a:gd name="connsiteX1" fmla="*/ 0 w 1728191"/>
                <a:gd name="connsiteY1" fmla="*/ 1564481 h 1581150"/>
                <a:gd name="connsiteX2" fmla="*/ 9525 w 1728191"/>
                <a:gd name="connsiteY2" fmla="*/ 1507331 h 1581150"/>
                <a:gd name="connsiteX3" fmla="*/ 0 w 1728191"/>
                <a:gd name="connsiteY3" fmla="*/ 1488281 h 1581150"/>
                <a:gd name="connsiteX4" fmla="*/ 50006 w 1728191"/>
                <a:gd name="connsiteY4" fmla="*/ 1457325 h 1581150"/>
                <a:gd name="connsiteX5" fmla="*/ 50006 w 1728191"/>
                <a:gd name="connsiteY5" fmla="*/ 1373981 h 1581150"/>
                <a:gd name="connsiteX6" fmla="*/ 52387 w 1728191"/>
                <a:gd name="connsiteY6" fmla="*/ 1354931 h 1581150"/>
                <a:gd name="connsiteX7" fmla="*/ 90487 w 1728191"/>
                <a:gd name="connsiteY7" fmla="*/ 1331118 h 1581150"/>
                <a:gd name="connsiteX8" fmla="*/ 109537 w 1728191"/>
                <a:gd name="connsiteY8" fmla="*/ 1259681 h 1581150"/>
                <a:gd name="connsiteX9" fmla="*/ 116681 w 1728191"/>
                <a:gd name="connsiteY9" fmla="*/ 1221581 h 1581150"/>
                <a:gd name="connsiteX10" fmla="*/ 100012 w 1728191"/>
                <a:gd name="connsiteY10" fmla="*/ 1200150 h 1581150"/>
                <a:gd name="connsiteX11" fmla="*/ 223837 w 1728191"/>
                <a:gd name="connsiteY11" fmla="*/ 1140618 h 1581150"/>
                <a:gd name="connsiteX12" fmla="*/ 240506 w 1728191"/>
                <a:gd name="connsiteY12" fmla="*/ 1143000 h 1581150"/>
                <a:gd name="connsiteX13" fmla="*/ 295275 w 1728191"/>
                <a:gd name="connsiteY13" fmla="*/ 1057275 h 1581150"/>
                <a:gd name="connsiteX14" fmla="*/ 323850 w 1728191"/>
                <a:gd name="connsiteY14" fmla="*/ 1047750 h 1581150"/>
                <a:gd name="connsiteX15" fmla="*/ 381000 w 1728191"/>
                <a:gd name="connsiteY15" fmla="*/ 1012031 h 1581150"/>
                <a:gd name="connsiteX16" fmla="*/ 392906 w 1728191"/>
                <a:gd name="connsiteY16" fmla="*/ 988218 h 1581150"/>
                <a:gd name="connsiteX17" fmla="*/ 457200 w 1728191"/>
                <a:gd name="connsiteY17" fmla="*/ 990600 h 1581150"/>
                <a:gd name="connsiteX18" fmla="*/ 511968 w 1728191"/>
                <a:gd name="connsiteY18" fmla="*/ 931068 h 1581150"/>
                <a:gd name="connsiteX19" fmla="*/ 483393 w 1728191"/>
                <a:gd name="connsiteY19" fmla="*/ 888206 h 1581150"/>
                <a:gd name="connsiteX20" fmla="*/ 571500 w 1728191"/>
                <a:gd name="connsiteY20" fmla="*/ 850106 h 1581150"/>
                <a:gd name="connsiteX21" fmla="*/ 592931 w 1728191"/>
                <a:gd name="connsiteY21" fmla="*/ 804862 h 1581150"/>
                <a:gd name="connsiteX22" fmla="*/ 626268 w 1728191"/>
                <a:gd name="connsiteY22" fmla="*/ 802481 h 1581150"/>
                <a:gd name="connsiteX23" fmla="*/ 673893 w 1728191"/>
                <a:gd name="connsiteY23" fmla="*/ 769143 h 1581150"/>
                <a:gd name="connsiteX24" fmla="*/ 747712 w 1728191"/>
                <a:gd name="connsiteY24" fmla="*/ 759618 h 1581150"/>
                <a:gd name="connsiteX25" fmla="*/ 816768 w 1728191"/>
                <a:gd name="connsiteY25" fmla="*/ 735806 h 1581150"/>
                <a:gd name="connsiteX26" fmla="*/ 904875 w 1728191"/>
                <a:gd name="connsiteY26" fmla="*/ 685800 h 1581150"/>
                <a:gd name="connsiteX27" fmla="*/ 1012825 w 1728191"/>
                <a:gd name="connsiteY27" fmla="*/ 658812 h 1581150"/>
                <a:gd name="connsiteX28" fmla="*/ 1067593 w 1728191"/>
                <a:gd name="connsiteY28" fmla="*/ 683418 h 1581150"/>
                <a:gd name="connsiteX29" fmla="*/ 1100931 w 1728191"/>
                <a:gd name="connsiteY29" fmla="*/ 650081 h 1581150"/>
                <a:gd name="connsiteX30" fmla="*/ 1217612 w 1728191"/>
                <a:gd name="connsiteY30" fmla="*/ 665162 h 1581150"/>
                <a:gd name="connsiteX31" fmla="*/ 1293812 w 1728191"/>
                <a:gd name="connsiteY31" fmla="*/ 661987 h 1581150"/>
                <a:gd name="connsiteX32" fmla="*/ 1373981 w 1728191"/>
                <a:gd name="connsiteY32" fmla="*/ 638968 h 1581150"/>
                <a:gd name="connsiteX33" fmla="*/ 1512886 w 1728191"/>
                <a:gd name="connsiteY33" fmla="*/ 576262 h 1581150"/>
                <a:gd name="connsiteX34" fmla="*/ 1687511 w 1728191"/>
                <a:gd name="connsiteY34" fmla="*/ 639762 h 1581150"/>
                <a:gd name="connsiteX35" fmla="*/ 1722436 w 1728191"/>
                <a:gd name="connsiteY35" fmla="*/ 538162 h 1581150"/>
                <a:gd name="connsiteX36" fmla="*/ 1627186 w 1728191"/>
                <a:gd name="connsiteY36" fmla="*/ 430212 h 1581150"/>
                <a:gd name="connsiteX37" fmla="*/ 1538287 w 1728191"/>
                <a:gd name="connsiteY37" fmla="*/ 357188 h 1581150"/>
                <a:gd name="connsiteX38" fmla="*/ 1512887 w 1728191"/>
                <a:gd name="connsiteY38" fmla="*/ 223838 h 1581150"/>
                <a:gd name="connsiteX39" fmla="*/ 1484312 w 1728191"/>
                <a:gd name="connsiteY39" fmla="*/ 112713 h 1581150"/>
                <a:gd name="connsiteX40" fmla="*/ 1440656 w 1728191"/>
                <a:gd name="connsiteY40" fmla="*/ 0 h 1581150"/>
                <a:gd name="connsiteX0" fmla="*/ 69056 w 1885249"/>
                <a:gd name="connsiteY0" fmla="*/ 1654175 h 1654175"/>
                <a:gd name="connsiteX1" fmla="*/ 0 w 1885249"/>
                <a:gd name="connsiteY1" fmla="*/ 1637506 h 1654175"/>
                <a:gd name="connsiteX2" fmla="*/ 9525 w 1885249"/>
                <a:gd name="connsiteY2" fmla="*/ 1580356 h 1654175"/>
                <a:gd name="connsiteX3" fmla="*/ 0 w 1885249"/>
                <a:gd name="connsiteY3" fmla="*/ 1561306 h 1654175"/>
                <a:gd name="connsiteX4" fmla="*/ 50006 w 1885249"/>
                <a:gd name="connsiteY4" fmla="*/ 1530350 h 1654175"/>
                <a:gd name="connsiteX5" fmla="*/ 50006 w 1885249"/>
                <a:gd name="connsiteY5" fmla="*/ 1447006 h 1654175"/>
                <a:gd name="connsiteX6" fmla="*/ 52387 w 1885249"/>
                <a:gd name="connsiteY6" fmla="*/ 1427956 h 1654175"/>
                <a:gd name="connsiteX7" fmla="*/ 90487 w 1885249"/>
                <a:gd name="connsiteY7" fmla="*/ 1404143 h 1654175"/>
                <a:gd name="connsiteX8" fmla="*/ 109537 w 1885249"/>
                <a:gd name="connsiteY8" fmla="*/ 1332706 h 1654175"/>
                <a:gd name="connsiteX9" fmla="*/ 116681 w 1885249"/>
                <a:gd name="connsiteY9" fmla="*/ 1294606 h 1654175"/>
                <a:gd name="connsiteX10" fmla="*/ 100012 w 1885249"/>
                <a:gd name="connsiteY10" fmla="*/ 1273175 h 1654175"/>
                <a:gd name="connsiteX11" fmla="*/ 223837 w 1885249"/>
                <a:gd name="connsiteY11" fmla="*/ 1213643 h 1654175"/>
                <a:gd name="connsiteX12" fmla="*/ 240506 w 1885249"/>
                <a:gd name="connsiteY12" fmla="*/ 1216025 h 1654175"/>
                <a:gd name="connsiteX13" fmla="*/ 295275 w 1885249"/>
                <a:gd name="connsiteY13" fmla="*/ 1130300 h 1654175"/>
                <a:gd name="connsiteX14" fmla="*/ 323850 w 1885249"/>
                <a:gd name="connsiteY14" fmla="*/ 1120775 h 1654175"/>
                <a:gd name="connsiteX15" fmla="*/ 381000 w 1885249"/>
                <a:gd name="connsiteY15" fmla="*/ 1085056 h 1654175"/>
                <a:gd name="connsiteX16" fmla="*/ 392906 w 1885249"/>
                <a:gd name="connsiteY16" fmla="*/ 1061243 h 1654175"/>
                <a:gd name="connsiteX17" fmla="*/ 457200 w 1885249"/>
                <a:gd name="connsiteY17" fmla="*/ 1063625 h 1654175"/>
                <a:gd name="connsiteX18" fmla="*/ 511968 w 1885249"/>
                <a:gd name="connsiteY18" fmla="*/ 1004093 h 1654175"/>
                <a:gd name="connsiteX19" fmla="*/ 483393 w 1885249"/>
                <a:gd name="connsiteY19" fmla="*/ 961231 h 1654175"/>
                <a:gd name="connsiteX20" fmla="*/ 571500 w 1885249"/>
                <a:gd name="connsiteY20" fmla="*/ 923131 h 1654175"/>
                <a:gd name="connsiteX21" fmla="*/ 592931 w 1885249"/>
                <a:gd name="connsiteY21" fmla="*/ 877887 h 1654175"/>
                <a:gd name="connsiteX22" fmla="*/ 626268 w 1885249"/>
                <a:gd name="connsiteY22" fmla="*/ 875506 h 1654175"/>
                <a:gd name="connsiteX23" fmla="*/ 673893 w 1885249"/>
                <a:gd name="connsiteY23" fmla="*/ 842168 h 1654175"/>
                <a:gd name="connsiteX24" fmla="*/ 747712 w 1885249"/>
                <a:gd name="connsiteY24" fmla="*/ 832643 h 1654175"/>
                <a:gd name="connsiteX25" fmla="*/ 816768 w 1885249"/>
                <a:gd name="connsiteY25" fmla="*/ 808831 h 1654175"/>
                <a:gd name="connsiteX26" fmla="*/ 904875 w 1885249"/>
                <a:gd name="connsiteY26" fmla="*/ 758825 h 1654175"/>
                <a:gd name="connsiteX27" fmla="*/ 1012825 w 1885249"/>
                <a:gd name="connsiteY27" fmla="*/ 731837 h 1654175"/>
                <a:gd name="connsiteX28" fmla="*/ 1067593 w 1885249"/>
                <a:gd name="connsiteY28" fmla="*/ 756443 h 1654175"/>
                <a:gd name="connsiteX29" fmla="*/ 1100931 w 1885249"/>
                <a:gd name="connsiteY29" fmla="*/ 723106 h 1654175"/>
                <a:gd name="connsiteX30" fmla="*/ 1217612 w 1885249"/>
                <a:gd name="connsiteY30" fmla="*/ 738187 h 1654175"/>
                <a:gd name="connsiteX31" fmla="*/ 1293812 w 1885249"/>
                <a:gd name="connsiteY31" fmla="*/ 735012 h 1654175"/>
                <a:gd name="connsiteX32" fmla="*/ 1373981 w 1885249"/>
                <a:gd name="connsiteY32" fmla="*/ 711993 h 1654175"/>
                <a:gd name="connsiteX33" fmla="*/ 1512886 w 1885249"/>
                <a:gd name="connsiteY33" fmla="*/ 649287 h 1654175"/>
                <a:gd name="connsiteX34" fmla="*/ 1687511 w 1885249"/>
                <a:gd name="connsiteY34" fmla="*/ 712787 h 1654175"/>
                <a:gd name="connsiteX35" fmla="*/ 1722436 w 1885249"/>
                <a:gd name="connsiteY35" fmla="*/ 611187 h 1654175"/>
                <a:gd name="connsiteX36" fmla="*/ 1627186 w 1885249"/>
                <a:gd name="connsiteY36" fmla="*/ 503237 h 1654175"/>
                <a:gd name="connsiteX37" fmla="*/ 1538287 w 1885249"/>
                <a:gd name="connsiteY37" fmla="*/ 430213 h 1654175"/>
                <a:gd name="connsiteX38" fmla="*/ 1512887 w 1885249"/>
                <a:gd name="connsiteY38" fmla="*/ 296863 h 1654175"/>
                <a:gd name="connsiteX39" fmla="*/ 1484312 w 1885249"/>
                <a:gd name="connsiteY39" fmla="*/ 185738 h 1654175"/>
                <a:gd name="connsiteX40" fmla="*/ 1885156 w 1885249"/>
                <a:gd name="connsiteY40" fmla="*/ 0 h 1654175"/>
                <a:gd name="connsiteX0" fmla="*/ 69056 w 1885901"/>
                <a:gd name="connsiteY0" fmla="*/ 1654175 h 1654175"/>
                <a:gd name="connsiteX1" fmla="*/ 0 w 1885901"/>
                <a:gd name="connsiteY1" fmla="*/ 1637506 h 1654175"/>
                <a:gd name="connsiteX2" fmla="*/ 9525 w 1885901"/>
                <a:gd name="connsiteY2" fmla="*/ 1580356 h 1654175"/>
                <a:gd name="connsiteX3" fmla="*/ 0 w 1885901"/>
                <a:gd name="connsiteY3" fmla="*/ 1561306 h 1654175"/>
                <a:gd name="connsiteX4" fmla="*/ 50006 w 1885901"/>
                <a:gd name="connsiteY4" fmla="*/ 1530350 h 1654175"/>
                <a:gd name="connsiteX5" fmla="*/ 50006 w 1885901"/>
                <a:gd name="connsiteY5" fmla="*/ 1447006 h 1654175"/>
                <a:gd name="connsiteX6" fmla="*/ 52387 w 1885901"/>
                <a:gd name="connsiteY6" fmla="*/ 1427956 h 1654175"/>
                <a:gd name="connsiteX7" fmla="*/ 90487 w 1885901"/>
                <a:gd name="connsiteY7" fmla="*/ 1404143 h 1654175"/>
                <a:gd name="connsiteX8" fmla="*/ 109537 w 1885901"/>
                <a:gd name="connsiteY8" fmla="*/ 1332706 h 1654175"/>
                <a:gd name="connsiteX9" fmla="*/ 116681 w 1885901"/>
                <a:gd name="connsiteY9" fmla="*/ 1294606 h 1654175"/>
                <a:gd name="connsiteX10" fmla="*/ 100012 w 1885901"/>
                <a:gd name="connsiteY10" fmla="*/ 1273175 h 1654175"/>
                <a:gd name="connsiteX11" fmla="*/ 223837 w 1885901"/>
                <a:gd name="connsiteY11" fmla="*/ 1213643 h 1654175"/>
                <a:gd name="connsiteX12" fmla="*/ 240506 w 1885901"/>
                <a:gd name="connsiteY12" fmla="*/ 1216025 h 1654175"/>
                <a:gd name="connsiteX13" fmla="*/ 295275 w 1885901"/>
                <a:gd name="connsiteY13" fmla="*/ 1130300 h 1654175"/>
                <a:gd name="connsiteX14" fmla="*/ 323850 w 1885901"/>
                <a:gd name="connsiteY14" fmla="*/ 1120775 h 1654175"/>
                <a:gd name="connsiteX15" fmla="*/ 381000 w 1885901"/>
                <a:gd name="connsiteY15" fmla="*/ 1085056 h 1654175"/>
                <a:gd name="connsiteX16" fmla="*/ 392906 w 1885901"/>
                <a:gd name="connsiteY16" fmla="*/ 1061243 h 1654175"/>
                <a:gd name="connsiteX17" fmla="*/ 457200 w 1885901"/>
                <a:gd name="connsiteY17" fmla="*/ 1063625 h 1654175"/>
                <a:gd name="connsiteX18" fmla="*/ 511968 w 1885901"/>
                <a:gd name="connsiteY18" fmla="*/ 1004093 h 1654175"/>
                <a:gd name="connsiteX19" fmla="*/ 483393 w 1885901"/>
                <a:gd name="connsiteY19" fmla="*/ 961231 h 1654175"/>
                <a:gd name="connsiteX20" fmla="*/ 571500 w 1885901"/>
                <a:gd name="connsiteY20" fmla="*/ 923131 h 1654175"/>
                <a:gd name="connsiteX21" fmla="*/ 592931 w 1885901"/>
                <a:gd name="connsiteY21" fmla="*/ 877887 h 1654175"/>
                <a:gd name="connsiteX22" fmla="*/ 626268 w 1885901"/>
                <a:gd name="connsiteY22" fmla="*/ 875506 h 1654175"/>
                <a:gd name="connsiteX23" fmla="*/ 673893 w 1885901"/>
                <a:gd name="connsiteY23" fmla="*/ 842168 h 1654175"/>
                <a:gd name="connsiteX24" fmla="*/ 747712 w 1885901"/>
                <a:gd name="connsiteY24" fmla="*/ 832643 h 1654175"/>
                <a:gd name="connsiteX25" fmla="*/ 816768 w 1885901"/>
                <a:gd name="connsiteY25" fmla="*/ 808831 h 1654175"/>
                <a:gd name="connsiteX26" fmla="*/ 904875 w 1885901"/>
                <a:gd name="connsiteY26" fmla="*/ 758825 h 1654175"/>
                <a:gd name="connsiteX27" fmla="*/ 1012825 w 1885901"/>
                <a:gd name="connsiteY27" fmla="*/ 731837 h 1654175"/>
                <a:gd name="connsiteX28" fmla="*/ 1067593 w 1885901"/>
                <a:gd name="connsiteY28" fmla="*/ 756443 h 1654175"/>
                <a:gd name="connsiteX29" fmla="*/ 1100931 w 1885901"/>
                <a:gd name="connsiteY29" fmla="*/ 723106 h 1654175"/>
                <a:gd name="connsiteX30" fmla="*/ 1217612 w 1885901"/>
                <a:gd name="connsiteY30" fmla="*/ 738187 h 1654175"/>
                <a:gd name="connsiteX31" fmla="*/ 1293812 w 1885901"/>
                <a:gd name="connsiteY31" fmla="*/ 735012 h 1654175"/>
                <a:gd name="connsiteX32" fmla="*/ 1373981 w 1885901"/>
                <a:gd name="connsiteY32" fmla="*/ 711993 h 1654175"/>
                <a:gd name="connsiteX33" fmla="*/ 1512886 w 1885901"/>
                <a:gd name="connsiteY33" fmla="*/ 649287 h 1654175"/>
                <a:gd name="connsiteX34" fmla="*/ 1687511 w 1885901"/>
                <a:gd name="connsiteY34" fmla="*/ 712787 h 1654175"/>
                <a:gd name="connsiteX35" fmla="*/ 1722436 w 1885901"/>
                <a:gd name="connsiteY35" fmla="*/ 611187 h 1654175"/>
                <a:gd name="connsiteX36" fmla="*/ 1627186 w 1885901"/>
                <a:gd name="connsiteY36" fmla="*/ 503237 h 1654175"/>
                <a:gd name="connsiteX37" fmla="*/ 1538287 w 1885901"/>
                <a:gd name="connsiteY37" fmla="*/ 430213 h 1654175"/>
                <a:gd name="connsiteX38" fmla="*/ 1512887 w 1885901"/>
                <a:gd name="connsiteY38" fmla="*/ 296863 h 1654175"/>
                <a:gd name="connsiteX39" fmla="*/ 1855787 w 1885901"/>
                <a:gd name="connsiteY39" fmla="*/ 74613 h 1654175"/>
                <a:gd name="connsiteX40" fmla="*/ 1885156 w 1885901"/>
                <a:gd name="connsiteY40" fmla="*/ 0 h 1654175"/>
                <a:gd name="connsiteX0" fmla="*/ 69056 w 1885901"/>
                <a:gd name="connsiteY0" fmla="*/ 1654175 h 1654175"/>
                <a:gd name="connsiteX1" fmla="*/ 0 w 1885901"/>
                <a:gd name="connsiteY1" fmla="*/ 1637506 h 1654175"/>
                <a:gd name="connsiteX2" fmla="*/ 9525 w 1885901"/>
                <a:gd name="connsiteY2" fmla="*/ 1580356 h 1654175"/>
                <a:gd name="connsiteX3" fmla="*/ 0 w 1885901"/>
                <a:gd name="connsiteY3" fmla="*/ 1561306 h 1654175"/>
                <a:gd name="connsiteX4" fmla="*/ 50006 w 1885901"/>
                <a:gd name="connsiteY4" fmla="*/ 1530350 h 1654175"/>
                <a:gd name="connsiteX5" fmla="*/ 50006 w 1885901"/>
                <a:gd name="connsiteY5" fmla="*/ 1447006 h 1654175"/>
                <a:gd name="connsiteX6" fmla="*/ 52387 w 1885901"/>
                <a:gd name="connsiteY6" fmla="*/ 1427956 h 1654175"/>
                <a:gd name="connsiteX7" fmla="*/ 90487 w 1885901"/>
                <a:gd name="connsiteY7" fmla="*/ 1404143 h 1654175"/>
                <a:gd name="connsiteX8" fmla="*/ 109537 w 1885901"/>
                <a:gd name="connsiteY8" fmla="*/ 1332706 h 1654175"/>
                <a:gd name="connsiteX9" fmla="*/ 116681 w 1885901"/>
                <a:gd name="connsiteY9" fmla="*/ 1294606 h 1654175"/>
                <a:gd name="connsiteX10" fmla="*/ 100012 w 1885901"/>
                <a:gd name="connsiteY10" fmla="*/ 1273175 h 1654175"/>
                <a:gd name="connsiteX11" fmla="*/ 223837 w 1885901"/>
                <a:gd name="connsiteY11" fmla="*/ 1213643 h 1654175"/>
                <a:gd name="connsiteX12" fmla="*/ 240506 w 1885901"/>
                <a:gd name="connsiteY12" fmla="*/ 1216025 h 1654175"/>
                <a:gd name="connsiteX13" fmla="*/ 295275 w 1885901"/>
                <a:gd name="connsiteY13" fmla="*/ 1130300 h 1654175"/>
                <a:gd name="connsiteX14" fmla="*/ 323850 w 1885901"/>
                <a:gd name="connsiteY14" fmla="*/ 1120775 h 1654175"/>
                <a:gd name="connsiteX15" fmla="*/ 381000 w 1885901"/>
                <a:gd name="connsiteY15" fmla="*/ 1085056 h 1654175"/>
                <a:gd name="connsiteX16" fmla="*/ 392906 w 1885901"/>
                <a:gd name="connsiteY16" fmla="*/ 1061243 h 1654175"/>
                <a:gd name="connsiteX17" fmla="*/ 457200 w 1885901"/>
                <a:gd name="connsiteY17" fmla="*/ 1063625 h 1654175"/>
                <a:gd name="connsiteX18" fmla="*/ 511968 w 1885901"/>
                <a:gd name="connsiteY18" fmla="*/ 1004093 h 1654175"/>
                <a:gd name="connsiteX19" fmla="*/ 483393 w 1885901"/>
                <a:gd name="connsiteY19" fmla="*/ 961231 h 1654175"/>
                <a:gd name="connsiteX20" fmla="*/ 571500 w 1885901"/>
                <a:gd name="connsiteY20" fmla="*/ 923131 h 1654175"/>
                <a:gd name="connsiteX21" fmla="*/ 592931 w 1885901"/>
                <a:gd name="connsiteY21" fmla="*/ 877887 h 1654175"/>
                <a:gd name="connsiteX22" fmla="*/ 626268 w 1885901"/>
                <a:gd name="connsiteY22" fmla="*/ 875506 h 1654175"/>
                <a:gd name="connsiteX23" fmla="*/ 673893 w 1885901"/>
                <a:gd name="connsiteY23" fmla="*/ 842168 h 1654175"/>
                <a:gd name="connsiteX24" fmla="*/ 747712 w 1885901"/>
                <a:gd name="connsiteY24" fmla="*/ 832643 h 1654175"/>
                <a:gd name="connsiteX25" fmla="*/ 816768 w 1885901"/>
                <a:gd name="connsiteY25" fmla="*/ 808831 h 1654175"/>
                <a:gd name="connsiteX26" fmla="*/ 904875 w 1885901"/>
                <a:gd name="connsiteY26" fmla="*/ 758825 h 1654175"/>
                <a:gd name="connsiteX27" fmla="*/ 1012825 w 1885901"/>
                <a:gd name="connsiteY27" fmla="*/ 731837 h 1654175"/>
                <a:gd name="connsiteX28" fmla="*/ 1067593 w 1885901"/>
                <a:gd name="connsiteY28" fmla="*/ 756443 h 1654175"/>
                <a:gd name="connsiteX29" fmla="*/ 1100931 w 1885901"/>
                <a:gd name="connsiteY29" fmla="*/ 723106 h 1654175"/>
                <a:gd name="connsiteX30" fmla="*/ 1217612 w 1885901"/>
                <a:gd name="connsiteY30" fmla="*/ 738187 h 1654175"/>
                <a:gd name="connsiteX31" fmla="*/ 1293812 w 1885901"/>
                <a:gd name="connsiteY31" fmla="*/ 735012 h 1654175"/>
                <a:gd name="connsiteX32" fmla="*/ 1373981 w 1885901"/>
                <a:gd name="connsiteY32" fmla="*/ 711993 h 1654175"/>
                <a:gd name="connsiteX33" fmla="*/ 1512886 w 1885901"/>
                <a:gd name="connsiteY33" fmla="*/ 649287 h 1654175"/>
                <a:gd name="connsiteX34" fmla="*/ 1687511 w 1885901"/>
                <a:gd name="connsiteY34" fmla="*/ 712787 h 1654175"/>
                <a:gd name="connsiteX35" fmla="*/ 1722436 w 1885901"/>
                <a:gd name="connsiteY35" fmla="*/ 611187 h 1654175"/>
                <a:gd name="connsiteX36" fmla="*/ 1627186 w 1885901"/>
                <a:gd name="connsiteY36" fmla="*/ 503237 h 1654175"/>
                <a:gd name="connsiteX37" fmla="*/ 1538287 w 1885901"/>
                <a:gd name="connsiteY37" fmla="*/ 430213 h 1654175"/>
                <a:gd name="connsiteX38" fmla="*/ 1849437 w 1885901"/>
                <a:gd name="connsiteY38" fmla="*/ 163513 h 1654175"/>
                <a:gd name="connsiteX39" fmla="*/ 1855787 w 1885901"/>
                <a:gd name="connsiteY39" fmla="*/ 74613 h 1654175"/>
                <a:gd name="connsiteX40" fmla="*/ 1885156 w 1885901"/>
                <a:gd name="connsiteY40" fmla="*/ 0 h 1654175"/>
                <a:gd name="connsiteX0" fmla="*/ 69056 w 1885901"/>
                <a:gd name="connsiteY0" fmla="*/ 1654175 h 1654175"/>
                <a:gd name="connsiteX1" fmla="*/ 0 w 1885901"/>
                <a:gd name="connsiteY1" fmla="*/ 1637506 h 1654175"/>
                <a:gd name="connsiteX2" fmla="*/ 9525 w 1885901"/>
                <a:gd name="connsiteY2" fmla="*/ 1580356 h 1654175"/>
                <a:gd name="connsiteX3" fmla="*/ 0 w 1885901"/>
                <a:gd name="connsiteY3" fmla="*/ 1561306 h 1654175"/>
                <a:gd name="connsiteX4" fmla="*/ 50006 w 1885901"/>
                <a:gd name="connsiteY4" fmla="*/ 1530350 h 1654175"/>
                <a:gd name="connsiteX5" fmla="*/ 50006 w 1885901"/>
                <a:gd name="connsiteY5" fmla="*/ 1447006 h 1654175"/>
                <a:gd name="connsiteX6" fmla="*/ 52387 w 1885901"/>
                <a:gd name="connsiteY6" fmla="*/ 1427956 h 1654175"/>
                <a:gd name="connsiteX7" fmla="*/ 90487 w 1885901"/>
                <a:gd name="connsiteY7" fmla="*/ 1404143 h 1654175"/>
                <a:gd name="connsiteX8" fmla="*/ 109537 w 1885901"/>
                <a:gd name="connsiteY8" fmla="*/ 1332706 h 1654175"/>
                <a:gd name="connsiteX9" fmla="*/ 116681 w 1885901"/>
                <a:gd name="connsiteY9" fmla="*/ 1294606 h 1654175"/>
                <a:gd name="connsiteX10" fmla="*/ 100012 w 1885901"/>
                <a:gd name="connsiteY10" fmla="*/ 1273175 h 1654175"/>
                <a:gd name="connsiteX11" fmla="*/ 223837 w 1885901"/>
                <a:gd name="connsiteY11" fmla="*/ 1213643 h 1654175"/>
                <a:gd name="connsiteX12" fmla="*/ 240506 w 1885901"/>
                <a:gd name="connsiteY12" fmla="*/ 1216025 h 1654175"/>
                <a:gd name="connsiteX13" fmla="*/ 295275 w 1885901"/>
                <a:gd name="connsiteY13" fmla="*/ 1130300 h 1654175"/>
                <a:gd name="connsiteX14" fmla="*/ 323850 w 1885901"/>
                <a:gd name="connsiteY14" fmla="*/ 1120775 h 1654175"/>
                <a:gd name="connsiteX15" fmla="*/ 381000 w 1885901"/>
                <a:gd name="connsiteY15" fmla="*/ 1085056 h 1654175"/>
                <a:gd name="connsiteX16" fmla="*/ 392906 w 1885901"/>
                <a:gd name="connsiteY16" fmla="*/ 1061243 h 1654175"/>
                <a:gd name="connsiteX17" fmla="*/ 457200 w 1885901"/>
                <a:gd name="connsiteY17" fmla="*/ 1063625 h 1654175"/>
                <a:gd name="connsiteX18" fmla="*/ 511968 w 1885901"/>
                <a:gd name="connsiteY18" fmla="*/ 1004093 h 1654175"/>
                <a:gd name="connsiteX19" fmla="*/ 483393 w 1885901"/>
                <a:gd name="connsiteY19" fmla="*/ 961231 h 1654175"/>
                <a:gd name="connsiteX20" fmla="*/ 571500 w 1885901"/>
                <a:gd name="connsiteY20" fmla="*/ 923131 h 1654175"/>
                <a:gd name="connsiteX21" fmla="*/ 592931 w 1885901"/>
                <a:gd name="connsiteY21" fmla="*/ 877887 h 1654175"/>
                <a:gd name="connsiteX22" fmla="*/ 626268 w 1885901"/>
                <a:gd name="connsiteY22" fmla="*/ 875506 h 1654175"/>
                <a:gd name="connsiteX23" fmla="*/ 673893 w 1885901"/>
                <a:gd name="connsiteY23" fmla="*/ 842168 h 1654175"/>
                <a:gd name="connsiteX24" fmla="*/ 747712 w 1885901"/>
                <a:gd name="connsiteY24" fmla="*/ 832643 h 1654175"/>
                <a:gd name="connsiteX25" fmla="*/ 816768 w 1885901"/>
                <a:gd name="connsiteY25" fmla="*/ 808831 h 1654175"/>
                <a:gd name="connsiteX26" fmla="*/ 904875 w 1885901"/>
                <a:gd name="connsiteY26" fmla="*/ 758825 h 1654175"/>
                <a:gd name="connsiteX27" fmla="*/ 1012825 w 1885901"/>
                <a:gd name="connsiteY27" fmla="*/ 731837 h 1654175"/>
                <a:gd name="connsiteX28" fmla="*/ 1067593 w 1885901"/>
                <a:gd name="connsiteY28" fmla="*/ 756443 h 1654175"/>
                <a:gd name="connsiteX29" fmla="*/ 1100931 w 1885901"/>
                <a:gd name="connsiteY29" fmla="*/ 723106 h 1654175"/>
                <a:gd name="connsiteX30" fmla="*/ 1217612 w 1885901"/>
                <a:gd name="connsiteY30" fmla="*/ 738187 h 1654175"/>
                <a:gd name="connsiteX31" fmla="*/ 1293812 w 1885901"/>
                <a:gd name="connsiteY31" fmla="*/ 735012 h 1654175"/>
                <a:gd name="connsiteX32" fmla="*/ 1373981 w 1885901"/>
                <a:gd name="connsiteY32" fmla="*/ 711993 h 1654175"/>
                <a:gd name="connsiteX33" fmla="*/ 1512886 w 1885901"/>
                <a:gd name="connsiteY33" fmla="*/ 649287 h 1654175"/>
                <a:gd name="connsiteX34" fmla="*/ 1687511 w 1885901"/>
                <a:gd name="connsiteY34" fmla="*/ 712787 h 1654175"/>
                <a:gd name="connsiteX35" fmla="*/ 1722436 w 1885901"/>
                <a:gd name="connsiteY35" fmla="*/ 611187 h 1654175"/>
                <a:gd name="connsiteX36" fmla="*/ 1627186 w 1885901"/>
                <a:gd name="connsiteY36" fmla="*/ 503237 h 1654175"/>
                <a:gd name="connsiteX37" fmla="*/ 1808162 w 1885901"/>
                <a:gd name="connsiteY37" fmla="*/ 258763 h 1654175"/>
                <a:gd name="connsiteX38" fmla="*/ 1849437 w 1885901"/>
                <a:gd name="connsiteY38" fmla="*/ 163513 h 1654175"/>
                <a:gd name="connsiteX39" fmla="*/ 1855787 w 1885901"/>
                <a:gd name="connsiteY39" fmla="*/ 74613 h 1654175"/>
                <a:gd name="connsiteX40" fmla="*/ 1885156 w 1885901"/>
                <a:gd name="connsiteY40" fmla="*/ 0 h 1654175"/>
                <a:gd name="connsiteX0" fmla="*/ 69056 w 1885901"/>
                <a:gd name="connsiteY0" fmla="*/ 1654175 h 1654175"/>
                <a:gd name="connsiteX1" fmla="*/ 0 w 1885901"/>
                <a:gd name="connsiteY1" fmla="*/ 1637506 h 1654175"/>
                <a:gd name="connsiteX2" fmla="*/ 9525 w 1885901"/>
                <a:gd name="connsiteY2" fmla="*/ 1580356 h 1654175"/>
                <a:gd name="connsiteX3" fmla="*/ 0 w 1885901"/>
                <a:gd name="connsiteY3" fmla="*/ 1561306 h 1654175"/>
                <a:gd name="connsiteX4" fmla="*/ 50006 w 1885901"/>
                <a:gd name="connsiteY4" fmla="*/ 1530350 h 1654175"/>
                <a:gd name="connsiteX5" fmla="*/ 50006 w 1885901"/>
                <a:gd name="connsiteY5" fmla="*/ 1447006 h 1654175"/>
                <a:gd name="connsiteX6" fmla="*/ 52387 w 1885901"/>
                <a:gd name="connsiteY6" fmla="*/ 1427956 h 1654175"/>
                <a:gd name="connsiteX7" fmla="*/ 90487 w 1885901"/>
                <a:gd name="connsiteY7" fmla="*/ 1404143 h 1654175"/>
                <a:gd name="connsiteX8" fmla="*/ 109537 w 1885901"/>
                <a:gd name="connsiteY8" fmla="*/ 1332706 h 1654175"/>
                <a:gd name="connsiteX9" fmla="*/ 116681 w 1885901"/>
                <a:gd name="connsiteY9" fmla="*/ 1294606 h 1654175"/>
                <a:gd name="connsiteX10" fmla="*/ 100012 w 1885901"/>
                <a:gd name="connsiteY10" fmla="*/ 1273175 h 1654175"/>
                <a:gd name="connsiteX11" fmla="*/ 223837 w 1885901"/>
                <a:gd name="connsiteY11" fmla="*/ 1213643 h 1654175"/>
                <a:gd name="connsiteX12" fmla="*/ 240506 w 1885901"/>
                <a:gd name="connsiteY12" fmla="*/ 1216025 h 1654175"/>
                <a:gd name="connsiteX13" fmla="*/ 295275 w 1885901"/>
                <a:gd name="connsiteY13" fmla="*/ 1130300 h 1654175"/>
                <a:gd name="connsiteX14" fmla="*/ 323850 w 1885901"/>
                <a:gd name="connsiteY14" fmla="*/ 1120775 h 1654175"/>
                <a:gd name="connsiteX15" fmla="*/ 381000 w 1885901"/>
                <a:gd name="connsiteY15" fmla="*/ 1085056 h 1654175"/>
                <a:gd name="connsiteX16" fmla="*/ 392906 w 1885901"/>
                <a:gd name="connsiteY16" fmla="*/ 1061243 h 1654175"/>
                <a:gd name="connsiteX17" fmla="*/ 457200 w 1885901"/>
                <a:gd name="connsiteY17" fmla="*/ 1063625 h 1654175"/>
                <a:gd name="connsiteX18" fmla="*/ 511968 w 1885901"/>
                <a:gd name="connsiteY18" fmla="*/ 1004093 h 1654175"/>
                <a:gd name="connsiteX19" fmla="*/ 483393 w 1885901"/>
                <a:gd name="connsiteY19" fmla="*/ 961231 h 1654175"/>
                <a:gd name="connsiteX20" fmla="*/ 571500 w 1885901"/>
                <a:gd name="connsiteY20" fmla="*/ 923131 h 1654175"/>
                <a:gd name="connsiteX21" fmla="*/ 592931 w 1885901"/>
                <a:gd name="connsiteY21" fmla="*/ 877887 h 1654175"/>
                <a:gd name="connsiteX22" fmla="*/ 626268 w 1885901"/>
                <a:gd name="connsiteY22" fmla="*/ 875506 h 1654175"/>
                <a:gd name="connsiteX23" fmla="*/ 673893 w 1885901"/>
                <a:gd name="connsiteY23" fmla="*/ 842168 h 1654175"/>
                <a:gd name="connsiteX24" fmla="*/ 747712 w 1885901"/>
                <a:gd name="connsiteY24" fmla="*/ 832643 h 1654175"/>
                <a:gd name="connsiteX25" fmla="*/ 816768 w 1885901"/>
                <a:gd name="connsiteY25" fmla="*/ 808831 h 1654175"/>
                <a:gd name="connsiteX26" fmla="*/ 904875 w 1885901"/>
                <a:gd name="connsiteY26" fmla="*/ 758825 h 1654175"/>
                <a:gd name="connsiteX27" fmla="*/ 1012825 w 1885901"/>
                <a:gd name="connsiteY27" fmla="*/ 731837 h 1654175"/>
                <a:gd name="connsiteX28" fmla="*/ 1067593 w 1885901"/>
                <a:gd name="connsiteY28" fmla="*/ 756443 h 1654175"/>
                <a:gd name="connsiteX29" fmla="*/ 1100931 w 1885901"/>
                <a:gd name="connsiteY29" fmla="*/ 723106 h 1654175"/>
                <a:gd name="connsiteX30" fmla="*/ 1217612 w 1885901"/>
                <a:gd name="connsiteY30" fmla="*/ 738187 h 1654175"/>
                <a:gd name="connsiteX31" fmla="*/ 1293812 w 1885901"/>
                <a:gd name="connsiteY31" fmla="*/ 735012 h 1654175"/>
                <a:gd name="connsiteX32" fmla="*/ 1373981 w 1885901"/>
                <a:gd name="connsiteY32" fmla="*/ 711993 h 1654175"/>
                <a:gd name="connsiteX33" fmla="*/ 1512886 w 1885901"/>
                <a:gd name="connsiteY33" fmla="*/ 649287 h 1654175"/>
                <a:gd name="connsiteX34" fmla="*/ 1687511 w 1885901"/>
                <a:gd name="connsiteY34" fmla="*/ 712787 h 1654175"/>
                <a:gd name="connsiteX35" fmla="*/ 1722436 w 1885901"/>
                <a:gd name="connsiteY35" fmla="*/ 611187 h 1654175"/>
                <a:gd name="connsiteX36" fmla="*/ 1878011 w 1885901"/>
                <a:gd name="connsiteY36" fmla="*/ 385762 h 1654175"/>
                <a:gd name="connsiteX37" fmla="*/ 1808162 w 1885901"/>
                <a:gd name="connsiteY37" fmla="*/ 258763 h 1654175"/>
                <a:gd name="connsiteX38" fmla="*/ 1849437 w 1885901"/>
                <a:gd name="connsiteY38" fmla="*/ 163513 h 1654175"/>
                <a:gd name="connsiteX39" fmla="*/ 1855787 w 1885901"/>
                <a:gd name="connsiteY39" fmla="*/ 74613 h 1654175"/>
                <a:gd name="connsiteX40" fmla="*/ 1885156 w 1885901"/>
                <a:gd name="connsiteY40" fmla="*/ 0 h 1654175"/>
                <a:gd name="connsiteX0" fmla="*/ 69056 w 1928263"/>
                <a:gd name="connsiteY0" fmla="*/ 1654175 h 1654175"/>
                <a:gd name="connsiteX1" fmla="*/ 0 w 1928263"/>
                <a:gd name="connsiteY1" fmla="*/ 1637506 h 1654175"/>
                <a:gd name="connsiteX2" fmla="*/ 9525 w 1928263"/>
                <a:gd name="connsiteY2" fmla="*/ 1580356 h 1654175"/>
                <a:gd name="connsiteX3" fmla="*/ 0 w 1928263"/>
                <a:gd name="connsiteY3" fmla="*/ 1561306 h 1654175"/>
                <a:gd name="connsiteX4" fmla="*/ 50006 w 1928263"/>
                <a:gd name="connsiteY4" fmla="*/ 1530350 h 1654175"/>
                <a:gd name="connsiteX5" fmla="*/ 50006 w 1928263"/>
                <a:gd name="connsiteY5" fmla="*/ 1447006 h 1654175"/>
                <a:gd name="connsiteX6" fmla="*/ 52387 w 1928263"/>
                <a:gd name="connsiteY6" fmla="*/ 1427956 h 1654175"/>
                <a:gd name="connsiteX7" fmla="*/ 90487 w 1928263"/>
                <a:gd name="connsiteY7" fmla="*/ 1404143 h 1654175"/>
                <a:gd name="connsiteX8" fmla="*/ 109537 w 1928263"/>
                <a:gd name="connsiteY8" fmla="*/ 1332706 h 1654175"/>
                <a:gd name="connsiteX9" fmla="*/ 116681 w 1928263"/>
                <a:gd name="connsiteY9" fmla="*/ 1294606 h 1654175"/>
                <a:gd name="connsiteX10" fmla="*/ 100012 w 1928263"/>
                <a:gd name="connsiteY10" fmla="*/ 1273175 h 1654175"/>
                <a:gd name="connsiteX11" fmla="*/ 223837 w 1928263"/>
                <a:gd name="connsiteY11" fmla="*/ 1213643 h 1654175"/>
                <a:gd name="connsiteX12" fmla="*/ 240506 w 1928263"/>
                <a:gd name="connsiteY12" fmla="*/ 1216025 h 1654175"/>
                <a:gd name="connsiteX13" fmla="*/ 295275 w 1928263"/>
                <a:gd name="connsiteY13" fmla="*/ 1130300 h 1654175"/>
                <a:gd name="connsiteX14" fmla="*/ 323850 w 1928263"/>
                <a:gd name="connsiteY14" fmla="*/ 1120775 h 1654175"/>
                <a:gd name="connsiteX15" fmla="*/ 381000 w 1928263"/>
                <a:gd name="connsiteY15" fmla="*/ 1085056 h 1654175"/>
                <a:gd name="connsiteX16" fmla="*/ 392906 w 1928263"/>
                <a:gd name="connsiteY16" fmla="*/ 1061243 h 1654175"/>
                <a:gd name="connsiteX17" fmla="*/ 457200 w 1928263"/>
                <a:gd name="connsiteY17" fmla="*/ 1063625 h 1654175"/>
                <a:gd name="connsiteX18" fmla="*/ 511968 w 1928263"/>
                <a:gd name="connsiteY18" fmla="*/ 1004093 h 1654175"/>
                <a:gd name="connsiteX19" fmla="*/ 483393 w 1928263"/>
                <a:gd name="connsiteY19" fmla="*/ 961231 h 1654175"/>
                <a:gd name="connsiteX20" fmla="*/ 571500 w 1928263"/>
                <a:gd name="connsiteY20" fmla="*/ 923131 h 1654175"/>
                <a:gd name="connsiteX21" fmla="*/ 592931 w 1928263"/>
                <a:gd name="connsiteY21" fmla="*/ 877887 h 1654175"/>
                <a:gd name="connsiteX22" fmla="*/ 626268 w 1928263"/>
                <a:gd name="connsiteY22" fmla="*/ 875506 h 1654175"/>
                <a:gd name="connsiteX23" fmla="*/ 673893 w 1928263"/>
                <a:gd name="connsiteY23" fmla="*/ 842168 h 1654175"/>
                <a:gd name="connsiteX24" fmla="*/ 747712 w 1928263"/>
                <a:gd name="connsiteY24" fmla="*/ 832643 h 1654175"/>
                <a:gd name="connsiteX25" fmla="*/ 816768 w 1928263"/>
                <a:gd name="connsiteY25" fmla="*/ 808831 h 1654175"/>
                <a:gd name="connsiteX26" fmla="*/ 904875 w 1928263"/>
                <a:gd name="connsiteY26" fmla="*/ 758825 h 1654175"/>
                <a:gd name="connsiteX27" fmla="*/ 1012825 w 1928263"/>
                <a:gd name="connsiteY27" fmla="*/ 731837 h 1654175"/>
                <a:gd name="connsiteX28" fmla="*/ 1067593 w 1928263"/>
                <a:gd name="connsiteY28" fmla="*/ 756443 h 1654175"/>
                <a:gd name="connsiteX29" fmla="*/ 1100931 w 1928263"/>
                <a:gd name="connsiteY29" fmla="*/ 723106 h 1654175"/>
                <a:gd name="connsiteX30" fmla="*/ 1217612 w 1928263"/>
                <a:gd name="connsiteY30" fmla="*/ 738187 h 1654175"/>
                <a:gd name="connsiteX31" fmla="*/ 1293812 w 1928263"/>
                <a:gd name="connsiteY31" fmla="*/ 735012 h 1654175"/>
                <a:gd name="connsiteX32" fmla="*/ 1373981 w 1928263"/>
                <a:gd name="connsiteY32" fmla="*/ 711993 h 1654175"/>
                <a:gd name="connsiteX33" fmla="*/ 1512886 w 1928263"/>
                <a:gd name="connsiteY33" fmla="*/ 649287 h 1654175"/>
                <a:gd name="connsiteX34" fmla="*/ 1687511 w 1928263"/>
                <a:gd name="connsiteY34" fmla="*/ 712787 h 1654175"/>
                <a:gd name="connsiteX35" fmla="*/ 1722436 w 1928263"/>
                <a:gd name="connsiteY35" fmla="*/ 611187 h 1654175"/>
                <a:gd name="connsiteX36" fmla="*/ 1922462 w 1928263"/>
                <a:gd name="connsiteY36" fmla="*/ 455614 h 1654175"/>
                <a:gd name="connsiteX37" fmla="*/ 1878011 w 1928263"/>
                <a:gd name="connsiteY37" fmla="*/ 385762 h 1654175"/>
                <a:gd name="connsiteX38" fmla="*/ 1808162 w 1928263"/>
                <a:gd name="connsiteY38" fmla="*/ 258763 h 1654175"/>
                <a:gd name="connsiteX39" fmla="*/ 1849437 w 1928263"/>
                <a:gd name="connsiteY39" fmla="*/ 163513 h 1654175"/>
                <a:gd name="connsiteX40" fmla="*/ 1855787 w 1928263"/>
                <a:gd name="connsiteY40" fmla="*/ 74613 h 1654175"/>
                <a:gd name="connsiteX41" fmla="*/ 1885156 w 1928263"/>
                <a:gd name="connsiteY41" fmla="*/ 0 h 1654175"/>
                <a:gd name="connsiteX0" fmla="*/ 69056 w 1954663"/>
                <a:gd name="connsiteY0" fmla="*/ 1654175 h 1654175"/>
                <a:gd name="connsiteX1" fmla="*/ 0 w 1954663"/>
                <a:gd name="connsiteY1" fmla="*/ 1637506 h 1654175"/>
                <a:gd name="connsiteX2" fmla="*/ 9525 w 1954663"/>
                <a:gd name="connsiteY2" fmla="*/ 1580356 h 1654175"/>
                <a:gd name="connsiteX3" fmla="*/ 0 w 1954663"/>
                <a:gd name="connsiteY3" fmla="*/ 1561306 h 1654175"/>
                <a:gd name="connsiteX4" fmla="*/ 50006 w 1954663"/>
                <a:gd name="connsiteY4" fmla="*/ 1530350 h 1654175"/>
                <a:gd name="connsiteX5" fmla="*/ 50006 w 1954663"/>
                <a:gd name="connsiteY5" fmla="*/ 1447006 h 1654175"/>
                <a:gd name="connsiteX6" fmla="*/ 52387 w 1954663"/>
                <a:gd name="connsiteY6" fmla="*/ 1427956 h 1654175"/>
                <a:gd name="connsiteX7" fmla="*/ 90487 w 1954663"/>
                <a:gd name="connsiteY7" fmla="*/ 1404143 h 1654175"/>
                <a:gd name="connsiteX8" fmla="*/ 109537 w 1954663"/>
                <a:gd name="connsiteY8" fmla="*/ 1332706 h 1654175"/>
                <a:gd name="connsiteX9" fmla="*/ 116681 w 1954663"/>
                <a:gd name="connsiteY9" fmla="*/ 1294606 h 1654175"/>
                <a:gd name="connsiteX10" fmla="*/ 100012 w 1954663"/>
                <a:gd name="connsiteY10" fmla="*/ 1273175 h 1654175"/>
                <a:gd name="connsiteX11" fmla="*/ 223837 w 1954663"/>
                <a:gd name="connsiteY11" fmla="*/ 1213643 h 1654175"/>
                <a:gd name="connsiteX12" fmla="*/ 240506 w 1954663"/>
                <a:gd name="connsiteY12" fmla="*/ 1216025 h 1654175"/>
                <a:gd name="connsiteX13" fmla="*/ 295275 w 1954663"/>
                <a:gd name="connsiteY13" fmla="*/ 1130300 h 1654175"/>
                <a:gd name="connsiteX14" fmla="*/ 323850 w 1954663"/>
                <a:gd name="connsiteY14" fmla="*/ 1120775 h 1654175"/>
                <a:gd name="connsiteX15" fmla="*/ 381000 w 1954663"/>
                <a:gd name="connsiteY15" fmla="*/ 1085056 h 1654175"/>
                <a:gd name="connsiteX16" fmla="*/ 392906 w 1954663"/>
                <a:gd name="connsiteY16" fmla="*/ 1061243 h 1654175"/>
                <a:gd name="connsiteX17" fmla="*/ 457200 w 1954663"/>
                <a:gd name="connsiteY17" fmla="*/ 1063625 h 1654175"/>
                <a:gd name="connsiteX18" fmla="*/ 511968 w 1954663"/>
                <a:gd name="connsiteY18" fmla="*/ 1004093 h 1654175"/>
                <a:gd name="connsiteX19" fmla="*/ 483393 w 1954663"/>
                <a:gd name="connsiteY19" fmla="*/ 961231 h 1654175"/>
                <a:gd name="connsiteX20" fmla="*/ 571500 w 1954663"/>
                <a:gd name="connsiteY20" fmla="*/ 923131 h 1654175"/>
                <a:gd name="connsiteX21" fmla="*/ 592931 w 1954663"/>
                <a:gd name="connsiteY21" fmla="*/ 877887 h 1654175"/>
                <a:gd name="connsiteX22" fmla="*/ 626268 w 1954663"/>
                <a:gd name="connsiteY22" fmla="*/ 875506 h 1654175"/>
                <a:gd name="connsiteX23" fmla="*/ 673893 w 1954663"/>
                <a:gd name="connsiteY23" fmla="*/ 842168 h 1654175"/>
                <a:gd name="connsiteX24" fmla="*/ 747712 w 1954663"/>
                <a:gd name="connsiteY24" fmla="*/ 832643 h 1654175"/>
                <a:gd name="connsiteX25" fmla="*/ 816768 w 1954663"/>
                <a:gd name="connsiteY25" fmla="*/ 808831 h 1654175"/>
                <a:gd name="connsiteX26" fmla="*/ 904875 w 1954663"/>
                <a:gd name="connsiteY26" fmla="*/ 758825 h 1654175"/>
                <a:gd name="connsiteX27" fmla="*/ 1012825 w 1954663"/>
                <a:gd name="connsiteY27" fmla="*/ 731837 h 1654175"/>
                <a:gd name="connsiteX28" fmla="*/ 1067593 w 1954663"/>
                <a:gd name="connsiteY28" fmla="*/ 756443 h 1654175"/>
                <a:gd name="connsiteX29" fmla="*/ 1100931 w 1954663"/>
                <a:gd name="connsiteY29" fmla="*/ 723106 h 1654175"/>
                <a:gd name="connsiteX30" fmla="*/ 1217612 w 1954663"/>
                <a:gd name="connsiteY30" fmla="*/ 738187 h 1654175"/>
                <a:gd name="connsiteX31" fmla="*/ 1293812 w 1954663"/>
                <a:gd name="connsiteY31" fmla="*/ 735012 h 1654175"/>
                <a:gd name="connsiteX32" fmla="*/ 1373981 w 1954663"/>
                <a:gd name="connsiteY32" fmla="*/ 711993 h 1654175"/>
                <a:gd name="connsiteX33" fmla="*/ 1512886 w 1954663"/>
                <a:gd name="connsiteY33" fmla="*/ 649287 h 1654175"/>
                <a:gd name="connsiteX34" fmla="*/ 1687511 w 1954663"/>
                <a:gd name="connsiteY34" fmla="*/ 712787 h 1654175"/>
                <a:gd name="connsiteX35" fmla="*/ 1722436 w 1954663"/>
                <a:gd name="connsiteY35" fmla="*/ 611187 h 1654175"/>
                <a:gd name="connsiteX36" fmla="*/ 1944687 w 1954663"/>
                <a:gd name="connsiteY36" fmla="*/ 522289 h 1654175"/>
                <a:gd name="connsiteX37" fmla="*/ 1922462 w 1954663"/>
                <a:gd name="connsiteY37" fmla="*/ 455614 h 1654175"/>
                <a:gd name="connsiteX38" fmla="*/ 1878011 w 1954663"/>
                <a:gd name="connsiteY38" fmla="*/ 385762 h 1654175"/>
                <a:gd name="connsiteX39" fmla="*/ 1808162 w 1954663"/>
                <a:gd name="connsiteY39" fmla="*/ 258763 h 1654175"/>
                <a:gd name="connsiteX40" fmla="*/ 1849437 w 1954663"/>
                <a:gd name="connsiteY40" fmla="*/ 163513 h 1654175"/>
                <a:gd name="connsiteX41" fmla="*/ 1855787 w 1954663"/>
                <a:gd name="connsiteY41" fmla="*/ 74613 h 1654175"/>
                <a:gd name="connsiteX42" fmla="*/ 1885156 w 1954663"/>
                <a:gd name="connsiteY42" fmla="*/ 0 h 1654175"/>
                <a:gd name="connsiteX0" fmla="*/ 69056 w 1988977"/>
                <a:gd name="connsiteY0" fmla="*/ 1654175 h 1654175"/>
                <a:gd name="connsiteX1" fmla="*/ 0 w 1988977"/>
                <a:gd name="connsiteY1" fmla="*/ 1637506 h 1654175"/>
                <a:gd name="connsiteX2" fmla="*/ 9525 w 1988977"/>
                <a:gd name="connsiteY2" fmla="*/ 1580356 h 1654175"/>
                <a:gd name="connsiteX3" fmla="*/ 0 w 1988977"/>
                <a:gd name="connsiteY3" fmla="*/ 1561306 h 1654175"/>
                <a:gd name="connsiteX4" fmla="*/ 50006 w 1988977"/>
                <a:gd name="connsiteY4" fmla="*/ 1530350 h 1654175"/>
                <a:gd name="connsiteX5" fmla="*/ 50006 w 1988977"/>
                <a:gd name="connsiteY5" fmla="*/ 1447006 h 1654175"/>
                <a:gd name="connsiteX6" fmla="*/ 52387 w 1988977"/>
                <a:gd name="connsiteY6" fmla="*/ 1427956 h 1654175"/>
                <a:gd name="connsiteX7" fmla="*/ 90487 w 1988977"/>
                <a:gd name="connsiteY7" fmla="*/ 1404143 h 1654175"/>
                <a:gd name="connsiteX8" fmla="*/ 109537 w 1988977"/>
                <a:gd name="connsiteY8" fmla="*/ 1332706 h 1654175"/>
                <a:gd name="connsiteX9" fmla="*/ 116681 w 1988977"/>
                <a:gd name="connsiteY9" fmla="*/ 1294606 h 1654175"/>
                <a:gd name="connsiteX10" fmla="*/ 100012 w 1988977"/>
                <a:gd name="connsiteY10" fmla="*/ 1273175 h 1654175"/>
                <a:gd name="connsiteX11" fmla="*/ 223837 w 1988977"/>
                <a:gd name="connsiteY11" fmla="*/ 1213643 h 1654175"/>
                <a:gd name="connsiteX12" fmla="*/ 240506 w 1988977"/>
                <a:gd name="connsiteY12" fmla="*/ 1216025 h 1654175"/>
                <a:gd name="connsiteX13" fmla="*/ 295275 w 1988977"/>
                <a:gd name="connsiteY13" fmla="*/ 1130300 h 1654175"/>
                <a:gd name="connsiteX14" fmla="*/ 323850 w 1988977"/>
                <a:gd name="connsiteY14" fmla="*/ 1120775 h 1654175"/>
                <a:gd name="connsiteX15" fmla="*/ 381000 w 1988977"/>
                <a:gd name="connsiteY15" fmla="*/ 1085056 h 1654175"/>
                <a:gd name="connsiteX16" fmla="*/ 392906 w 1988977"/>
                <a:gd name="connsiteY16" fmla="*/ 1061243 h 1654175"/>
                <a:gd name="connsiteX17" fmla="*/ 457200 w 1988977"/>
                <a:gd name="connsiteY17" fmla="*/ 1063625 h 1654175"/>
                <a:gd name="connsiteX18" fmla="*/ 511968 w 1988977"/>
                <a:gd name="connsiteY18" fmla="*/ 1004093 h 1654175"/>
                <a:gd name="connsiteX19" fmla="*/ 483393 w 1988977"/>
                <a:gd name="connsiteY19" fmla="*/ 961231 h 1654175"/>
                <a:gd name="connsiteX20" fmla="*/ 571500 w 1988977"/>
                <a:gd name="connsiteY20" fmla="*/ 923131 h 1654175"/>
                <a:gd name="connsiteX21" fmla="*/ 592931 w 1988977"/>
                <a:gd name="connsiteY21" fmla="*/ 877887 h 1654175"/>
                <a:gd name="connsiteX22" fmla="*/ 626268 w 1988977"/>
                <a:gd name="connsiteY22" fmla="*/ 875506 h 1654175"/>
                <a:gd name="connsiteX23" fmla="*/ 673893 w 1988977"/>
                <a:gd name="connsiteY23" fmla="*/ 842168 h 1654175"/>
                <a:gd name="connsiteX24" fmla="*/ 747712 w 1988977"/>
                <a:gd name="connsiteY24" fmla="*/ 832643 h 1654175"/>
                <a:gd name="connsiteX25" fmla="*/ 816768 w 1988977"/>
                <a:gd name="connsiteY25" fmla="*/ 808831 h 1654175"/>
                <a:gd name="connsiteX26" fmla="*/ 904875 w 1988977"/>
                <a:gd name="connsiteY26" fmla="*/ 758825 h 1654175"/>
                <a:gd name="connsiteX27" fmla="*/ 1012825 w 1988977"/>
                <a:gd name="connsiteY27" fmla="*/ 731837 h 1654175"/>
                <a:gd name="connsiteX28" fmla="*/ 1067593 w 1988977"/>
                <a:gd name="connsiteY28" fmla="*/ 756443 h 1654175"/>
                <a:gd name="connsiteX29" fmla="*/ 1100931 w 1988977"/>
                <a:gd name="connsiteY29" fmla="*/ 723106 h 1654175"/>
                <a:gd name="connsiteX30" fmla="*/ 1217612 w 1988977"/>
                <a:gd name="connsiteY30" fmla="*/ 738187 h 1654175"/>
                <a:gd name="connsiteX31" fmla="*/ 1293812 w 1988977"/>
                <a:gd name="connsiteY31" fmla="*/ 735012 h 1654175"/>
                <a:gd name="connsiteX32" fmla="*/ 1373981 w 1988977"/>
                <a:gd name="connsiteY32" fmla="*/ 711993 h 1654175"/>
                <a:gd name="connsiteX33" fmla="*/ 1512886 w 1988977"/>
                <a:gd name="connsiteY33" fmla="*/ 649287 h 1654175"/>
                <a:gd name="connsiteX34" fmla="*/ 1687511 w 1988977"/>
                <a:gd name="connsiteY34" fmla="*/ 712787 h 1654175"/>
                <a:gd name="connsiteX35" fmla="*/ 1722436 w 1988977"/>
                <a:gd name="connsiteY35" fmla="*/ 611187 h 1654175"/>
                <a:gd name="connsiteX36" fmla="*/ 1979612 w 1988977"/>
                <a:gd name="connsiteY36" fmla="*/ 582614 h 1654175"/>
                <a:gd name="connsiteX37" fmla="*/ 1944687 w 1988977"/>
                <a:gd name="connsiteY37" fmla="*/ 522289 h 1654175"/>
                <a:gd name="connsiteX38" fmla="*/ 1922462 w 1988977"/>
                <a:gd name="connsiteY38" fmla="*/ 455614 h 1654175"/>
                <a:gd name="connsiteX39" fmla="*/ 1878011 w 1988977"/>
                <a:gd name="connsiteY39" fmla="*/ 385762 h 1654175"/>
                <a:gd name="connsiteX40" fmla="*/ 1808162 w 1988977"/>
                <a:gd name="connsiteY40" fmla="*/ 258763 h 1654175"/>
                <a:gd name="connsiteX41" fmla="*/ 1849437 w 1988977"/>
                <a:gd name="connsiteY41" fmla="*/ 163513 h 1654175"/>
                <a:gd name="connsiteX42" fmla="*/ 1855787 w 1988977"/>
                <a:gd name="connsiteY42" fmla="*/ 74613 h 1654175"/>
                <a:gd name="connsiteX43" fmla="*/ 1885156 w 1988977"/>
                <a:gd name="connsiteY43" fmla="*/ 0 h 1654175"/>
                <a:gd name="connsiteX0" fmla="*/ 69056 w 1988977"/>
                <a:gd name="connsiteY0" fmla="*/ 1654175 h 1654175"/>
                <a:gd name="connsiteX1" fmla="*/ 0 w 1988977"/>
                <a:gd name="connsiteY1" fmla="*/ 1637506 h 1654175"/>
                <a:gd name="connsiteX2" fmla="*/ 9525 w 1988977"/>
                <a:gd name="connsiteY2" fmla="*/ 1580356 h 1654175"/>
                <a:gd name="connsiteX3" fmla="*/ 0 w 1988977"/>
                <a:gd name="connsiteY3" fmla="*/ 1561306 h 1654175"/>
                <a:gd name="connsiteX4" fmla="*/ 50006 w 1988977"/>
                <a:gd name="connsiteY4" fmla="*/ 1530350 h 1654175"/>
                <a:gd name="connsiteX5" fmla="*/ 50006 w 1988977"/>
                <a:gd name="connsiteY5" fmla="*/ 1447006 h 1654175"/>
                <a:gd name="connsiteX6" fmla="*/ 52387 w 1988977"/>
                <a:gd name="connsiteY6" fmla="*/ 1427956 h 1654175"/>
                <a:gd name="connsiteX7" fmla="*/ 90487 w 1988977"/>
                <a:gd name="connsiteY7" fmla="*/ 1404143 h 1654175"/>
                <a:gd name="connsiteX8" fmla="*/ 109537 w 1988977"/>
                <a:gd name="connsiteY8" fmla="*/ 1332706 h 1654175"/>
                <a:gd name="connsiteX9" fmla="*/ 116681 w 1988977"/>
                <a:gd name="connsiteY9" fmla="*/ 1294606 h 1654175"/>
                <a:gd name="connsiteX10" fmla="*/ 100012 w 1988977"/>
                <a:gd name="connsiteY10" fmla="*/ 1273175 h 1654175"/>
                <a:gd name="connsiteX11" fmla="*/ 223837 w 1988977"/>
                <a:gd name="connsiteY11" fmla="*/ 1213643 h 1654175"/>
                <a:gd name="connsiteX12" fmla="*/ 240506 w 1988977"/>
                <a:gd name="connsiteY12" fmla="*/ 1216025 h 1654175"/>
                <a:gd name="connsiteX13" fmla="*/ 295275 w 1988977"/>
                <a:gd name="connsiteY13" fmla="*/ 1130300 h 1654175"/>
                <a:gd name="connsiteX14" fmla="*/ 323850 w 1988977"/>
                <a:gd name="connsiteY14" fmla="*/ 1120775 h 1654175"/>
                <a:gd name="connsiteX15" fmla="*/ 381000 w 1988977"/>
                <a:gd name="connsiteY15" fmla="*/ 1085056 h 1654175"/>
                <a:gd name="connsiteX16" fmla="*/ 392906 w 1988977"/>
                <a:gd name="connsiteY16" fmla="*/ 1061243 h 1654175"/>
                <a:gd name="connsiteX17" fmla="*/ 457200 w 1988977"/>
                <a:gd name="connsiteY17" fmla="*/ 1063625 h 1654175"/>
                <a:gd name="connsiteX18" fmla="*/ 511968 w 1988977"/>
                <a:gd name="connsiteY18" fmla="*/ 1004093 h 1654175"/>
                <a:gd name="connsiteX19" fmla="*/ 483393 w 1988977"/>
                <a:gd name="connsiteY19" fmla="*/ 961231 h 1654175"/>
                <a:gd name="connsiteX20" fmla="*/ 571500 w 1988977"/>
                <a:gd name="connsiteY20" fmla="*/ 923131 h 1654175"/>
                <a:gd name="connsiteX21" fmla="*/ 592931 w 1988977"/>
                <a:gd name="connsiteY21" fmla="*/ 877887 h 1654175"/>
                <a:gd name="connsiteX22" fmla="*/ 626268 w 1988977"/>
                <a:gd name="connsiteY22" fmla="*/ 875506 h 1654175"/>
                <a:gd name="connsiteX23" fmla="*/ 673893 w 1988977"/>
                <a:gd name="connsiteY23" fmla="*/ 842168 h 1654175"/>
                <a:gd name="connsiteX24" fmla="*/ 747712 w 1988977"/>
                <a:gd name="connsiteY24" fmla="*/ 832643 h 1654175"/>
                <a:gd name="connsiteX25" fmla="*/ 816768 w 1988977"/>
                <a:gd name="connsiteY25" fmla="*/ 808831 h 1654175"/>
                <a:gd name="connsiteX26" fmla="*/ 904875 w 1988977"/>
                <a:gd name="connsiteY26" fmla="*/ 758825 h 1654175"/>
                <a:gd name="connsiteX27" fmla="*/ 1012825 w 1988977"/>
                <a:gd name="connsiteY27" fmla="*/ 731837 h 1654175"/>
                <a:gd name="connsiteX28" fmla="*/ 1067593 w 1988977"/>
                <a:gd name="connsiteY28" fmla="*/ 756443 h 1654175"/>
                <a:gd name="connsiteX29" fmla="*/ 1100931 w 1988977"/>
                <a:gd name="connsiteY29" fmla="*/ 723106 h 1654175"/>
                <a:gd name="connsiteX30" fmla="*/ 1217612 w 1988977"/>
                <a:gd name="connsiteY30" fmla="*/ 738187 h 1654175"/>
                <a:gd name="connsiteX31" fmla="*/ 1293812 w 1988977"/>
                <a:gd name="connsiteY31" fmla="*/ 735012 h 1654175"/>
                <a:gd name="connsiteX32" fmla="*/ 1373981 w 1988977"/>
                <a:gd name="connsiteY32" fmla="*/ 711993 h 1654175"/>
                <a:gd name="connsiteX33" fmla="*/ 1512886 w 1988977"/>
                <a:gd name="connsiteY33" fmla="*/ 649287 h 1654175"/>
                <a:gd name="connsiteX34" fmla="*/ 1687511 w 1988977"/>
                <a:gd name="connsiteY34" fmla="*/ 712787 h 1654175"/>
                <a:gd name="connsiteX35" fmla="*/ 1722436 w 1988977"/>
                <a:gd name="connsiteY35" fmla="*/ 611187 h 1654175"/>
                <a:gd name="connsiteX36" fmla="*/ 1979612 w 1988977"/>
                <a:gd name="connsiteY36" fmla="*/ 582614 h 1654175"/>
                <a:gd name="connsiteX37" fmla="*/ 1944687 w 1988977"/>
                <a:gd name="connsiteY37" fmla="*/ 522289 h 1654175"/>
                <a:gd name="connsiteX38" fmla="*/ 1922462 w 1988977"/>
                <a:gd name="connsiteY38" fmla="*/ 455614 h 1654175"/>
                <a:gd name="connsiteX39" fmla="*/ 1878011 w 1988977"/>
                <a:gd name="connsiteY39" fmla="*/ 385762 h 1654175"/>
                <a:gd name="connsiteX40" fmla="*/ 1808162 w 1988977"/>
                <a:gd name="connsiteY40" fmla="*/ 258763 h 1654175"/>
                <a:gd name="connsiteX41" fmla="*/ 1849437 w 1988977"/>
                <a:gd name="connsiteY41" fmla="*/ 163513 h 1654175"/>
                <a:gd name="connsiteX42" fmla="*/ 1855787 w 1988977"/>
                <a:gd name="connsiteY42" fmla="*/ 74613 h 1654175"/>
                <a:gd name="connsiteX43" fmla="*/ 1885156 w 1988977"/>
                <a:gd name="connsiteY43" fmla="*/ 0 h 1654175"/>
                <a:gd name="connsiteX0" fmla="*/ 69056 w 1988977"/>
                <a:gd name="connsiteY0" fmla="*/ 1654175 h 1654175"/>
                <a:gd name="connsiteX1" fmla="*/ 0 w 1988977"/>
                <a:gd name="connsiteY1" fmla="*/ 1637506 h 1654175"/>
                <a:gd name="connsiteX2" fmla="*/ 9525 w 1988977"/>
                <a:gd name="connsiteY2" fmla="*/ 1580356 h 1654175"/>
                <a:gd name="connsiteX3" fmla="*/ 0 w 1988977"/>
                <a:gd name="connsiteY3" fmla="*/ 1561306 h 1654175"/>
                <a:gd name="connsiteX4" fmla="*/ 50006 w 1988977"/>
                <a:gd name="connsiteY4" fmla="*/ 1530350 h 1654175"/>
                <a:gd name="connsiteX5" fmla="*/ 50006 w 1988977"/>
                <a:gd name="connsiteY5" fmla="*/ 1447006 h 1654175"/>
                <a:gd name="connsiteX6" fmla="*/ 52387 w 1988977"/>
                <a:gd name="connsiteY6" fmla="*/ 1427956 h 1654175"/>
                <a:gd name="connsiteX7" fmla="*/ 90487 w 1988977"/>
                <a:gd name="connsiteY7" fmla="*/ 1404143 h 1654175"/>
                <a:gd name="connsiteX8" fmla="*/ 109537 w 1988977"/>
                <a:gd name="connsiteY8" fmla="*/ 1332706 h 1654175"/>
                <a:gd name="connsiteX9" fmla="*/ 116681 w 1988977"/>
                <a:gd name="connsiteY9" fmla="*/ 1294606 h 1654175"/>
                <a:gd name="connsiteX10" fmla="*/ 100012 w 1988977"/>
                <a:gd name="connsiteY10" fmla="*/ 1273175 h 1654175"/>
                <a:gd name="connsiteX11" fmla="*/ 223837 w 1988977"/>
                <a:gd name="connsiteY11" fmla="*/ 1213643 h 1654175"/>
                <a:gd name="connsiteX12" fmla="*/ 240506 w 1988977"/>
                <a:gd name="connsiteY12" fmla="*/ 1216025 h 1654175"/>
                <a:gd name="connsiteX13" fmla="*/ 295275 w 1988977"/>
                <a:gd name="connsiteY13" fmla="*/ 1130300 h 1654175"/>
                <a:gd name="connsiteX14" fmla="*/ 323850 w 1988977"/>
                <a:gd name="connsiteY14" fmla="*/ 1120775 h 1654175"/>
                <a:gd name="connsiteX15" fmla="*/ 381000 w 1988977"/>
                <a:gd name="connsiteY15" fmla="*/ 1085056 h 1654175"/>
                <a:gd name="connsiteX16" fmla="*/ 392906 w 1988977"/>
                <a:gd name="connsiteY16" fmla="*/ 1061243 h 1654175"/>
                <a:gd name="connsiteX17" fmla="*/ 457200 w 1988977"/>
                <a:gd name="connsiteY17" fmla="*/ 1063625 h 1654175"/>
                <a:gd name="connsiteX18" fmla="*/ 511968 w 1988977"/>
                <a:gd name="connsiteY18" fmla="*/ 1004093 h 1654175"/>
                <a:gd name="connsiteX19" fmla="*/ 483393 w 1988977"/>
                <a:gd name="connsiteY19" fmla="*/ 961231 h 1654175"/>
                <a:gd name="connsiteX20" fmla="*/ 571500 w 1988977"/>
                <a:gd name="connsiteY20" fmla="*/ 923131 h 1654175"/>
                <a:gd name="connsiteX21" fmla="*/ 592931 w 1988977"/>
                <a:gd name="connsiteY21" fmla="*/ 877887 h 1654175"/>
                <a:gd name="connsiteX22" fmla="*/ 626268 w 1988977"/>
                <a:gd name="connsiteY22" fmla="*/ 875506 h 1654175"/>
                <a:gd name="connsiteX23" fmla="*/ 673893 w 1988977"/>
                <a:gd name="connsiteY23" fmla="*/ 842168 h 1654175"/>
                <a:gd name="connsiteX24" fmla="*/ 747712 w 1988977"/>
                <a:gd name="connsiteY24" fmla="*/ 832643 h 1654175"/>
                <a:gd name="connsiteX25" fmla="*/ 816768 w 1988977"/>
                <a:gd name="connsiteY25" fmla="*/ 808831 h 1654175"/>
                <a:gd name="connsiteX26" fmla="*/ 904875 w 1988977"/>
                <a:gd name="connsiteY26" fmla="*/ 758825 h 1654175"/>
                <a:gd name="connsiteX27" fmla="*/ 1012825 w 1988977"/>
                <a:gd name="connsiteY27" fmla="*/ 731837 h 1654175"/>
                <a:gd name="connsiteX28" fmla="*/ 1067593 w 1988977"/>
                <a:gd name="connsiteY28" fmla="*/ 756443 h 1654175"/>
                <a:gd name="connsiteX29" fmla="*/ 1100931 w 1988977"/>
                <a:gd name="connsiteY29" fmla="*/ 723106 h 1654175"/>
                <a:gd name="connsiteX30" fmla="*/ 1217612 w 1988977"/>
                <a:gd name="connsiteY30" fmla="*/ 738187 h 1654175"/>
                <a:gd name="connsiteX31" fmla="*/ 1293812 w 1988977"/>
                <a:gd name="connsiteY31" fmla="*/ 735012 h 1654175"/>
                <a:gd name="connsiteX32" fmla="*/ 1373981 w 1988977"/>
                <a:gd name="connsiteY32" fmla="*/ 711993 h 1654175"/>
                <a:gd name="connsiteX33" fmla="*/ 1512886 w 1988977"/>
                <a:gd name="connsiteY33" fmla="*/ 649287 h 1654175"/>
                <a:gd name="connsiteX34" fmla="*/ 1687511 w 1988977"/>
                <a:gd name="connsiteY34" fmla="*/ 712787 h 1654175"/>
                <a:gd name="connsiteX35" fmla="*/ 1766886 w 1988977"/>
                <a:gd name="connsiteY35" fmla="*/ 731837 h 1654175"/>
                <a:gd name="connsiteX36" fmla="*/ 1979612 w 1988977"/>
                <a:gd name="connsiteY36" fmla="*/ 582614 h 1654175"/>
                <a:gd name="connsiteX37" fmla="*/ 1944687 w 1988977"/>
                <a:gd name="connsiteY37" fmla="*/ 522289 h 1654175"/>
                <a:gd name="connsiteX38" fmla="*/ 1922462 w 1988977"/>
                <a:gd name="connsiteY38" fmla="*/ 455614 h 1654175"/>
                <a:gd name="connsiteX39" fmla="*/ 1878011 w 1988977"/>
                <a:gd name="connsiteY39" fmla="*/ 385762 h 1654175"/>
                <a:gd name="connsiteX40" fmla="*/ 1808162 w 1988977"/>
                <a:gd name="connsiteY40" fmla="*/ 258763 h 1654175"/>
                <a:gd name="connsiteX41" fmla="*/ 1849437 w 1988977"/>
                <a:gd name="connsiteY41" fmla="*/ 163513 h 1654175"/>
                <a:gd name="connsiteX42" fmla="*/ 1855787 w 1988977"/>
                <a:gd name="connsiteY42" fmla="*/ 74613 h 1654175"/>
                <a:gd name="connsiteX43" fmla="*/ 1885156 w 1988977"/>
                <a:gd name="connsiteY43" fmla="*/ 0 h 1654175"/>
                <a:gd name="connsiteX0" fmla="*/ 69056 w 1988977"/>
                <a:gd name="connsiteY0" fmla="*/ 1654175 h 1654175"/>
                <a:gd name="connsiteX1" fmla="*/ 0 w 1988977"/>
                <a:gd name="connsiteY1" fmla="*/ 1637506 h 1654175"/>
                <a:gd name="connsiteX2" fmla="*/ 9525 w 1988977"/>
                <a:gd name="connsiteY2" fmla="*/ 1580356 h 1654175"/>
                <a:gd name="connsiteX3" fmla="*/ 0 w 1988977"/>
                <a:gd name="connsiteY3" fmla="*/ 1561306 h 1654175"/>
                <a:gd name="connsiteX4" fmla="*/ 50006 w 1988977"/>
                <a:gd name="connsiteY4" fmla="*/ 1530350 h 1654175"/>
                <a:gd name="connsiteX5" fmla="*/ 50006 w 1988977"/>
                <a:gd name="connsiteY5" fmla="*/ 1447006 h 1654175"/>
                <a:gd name="connsiteX6" fmla="*/ 52387 w 1988977"/>
                <a:gd name="connsiteY6" fmla="*/ 1427956 h 1654175"/>
                <a:gd name="connsiteX7" fmla="*/ 90487 w 1988977"/>
                <a:gd name="connsiteY7" fmla="*/ 1404143 h 1654175"/>
                <a:gd name="connsiteX8" fmla="*/ 109537 w 1988977"/>
                <a:gd name="connsiteY8" fmla="*/ 1332706 h 1654175"/>
                <a:gd name="connsiteX9" fmla="*/ 116681 w 1988977"/>
                <a:gd name="connsiteY9" fmla="*/ 1294606 h 1654175"/>
                <a:gd name="connsiteX10" fmla="*/ 100012 w 1988977"/>
                <a:gd name="connsiteY10" fmla="*/ 1273175 h 1654175"/>
                <a:gd name="connsiteX11" fmla="*/ 223837 w 1988977"/>
                <a:gd name="connsiteY11" fmla="*/ 1213643 h 1654175"/>
                <a:gd name="connsiteX12" fmla="*/ 240506 w 1988977"/>
                <a:gd name="connsiteY12" fmla="*/ 1216025 h 1654175"/>
                <a:gd name="connsiteX13" fmla="*/ 295275 w 1988977"/>
                <a:gd name="connsiteY13" fmla="*/ 1130300 h 1654175"/>
                <a:gd name="connsiteX14" fmla="*/ 323850 w 1988977"/>
                <a:gd name="connsiteY14" fmla="*/ 1120775 h 1654175"/>
                <a:gd name="connsiteX15" fmla="*/ 381000 w 1988977"/>
                <a:gd name="connsiteY15" fmla="*/ 1085056 h 1654175"/>
                <a:gd name="connsiteX16" fmla="*/ 392906 w 1988977"/>
                <a:gd name="connsiteY16" fmla="*/ 1061243 h 1654175"/>
                <a:gd name="connsiteX17" fmla="*/ 457200 w 1988977"/>
                <a:gd name="connsiteY17" fmla="*/ 1063625 h 1654175"/>
                <a:gd name="connsiteX18" fmla="*/ 511968 w 1988977"/>
                <a:gd name="connsiteY18" fmla="*/ 1004093 h 1654175"/>
                <a:gd name="connsiteX19" fmla="*/ 483393 w 1988977"/>
                <a:gd name="connsiteY19" fmla="*/ 961231 h 1654175"/>
                <a:gd name="connsiteX20" fmla="*/ 571500 w 1988977"/>
                <a:gd name="connsiteY20" fmla="*/ 923131 h 1654175"/>
                <a:gd name="connsiteX21" fmla="*/ 592931 w 1988977"/>
                <a:gd name="connsiteY21" fmla="*/ 877887 h 1654175"/>
                <a:gd name="connsiteX22" fmla="*/ 626268 w 1988977"/>
                <a:gd name="connsiteY22" fmla="*/ 875506 h 1654175"/>
                <a:gd name="connsiteX23" fmla="*/ 673893 w 1988977"/>
                <a:gd name="connsiteY23" fmla="*/ 842168 h 1654175"/>
                <a:gd name="connsiteX24" fmla="*/ 747712 w 1988977"/>
                <a:gd name="connsiteY24" fmla="*/ 832643 h 1654175"/>
                <a:gd name="connsiteX25" fmla="*/ 816768 w 1988977"/>
                <a:gd name="connsiteY25" fmla="*/ 808831 h 1654175"/>
                <a:gd name="connsiteX26" fmla="*/ 904875 w 1988977"/>
                <a:gd name="connsiteY26" fmla="*/ 758825 h 1654175"/>
                <a:gd name="connsiteX27" fmla="*/ 1012825 w 1988977"/>
                <a:gd name="connsiteY27" fmla="*/ 731837 h 1654175"/>
                <a:gd name="connsiteX28" fmla="*/ 1067593 w 1988977"/>
                <a:gd name="connsiteY28" fmla="*/ 756443 h 1654175"/>
                <a:gd name="connsiteX29" fmla="*/ 1100931 w 1988977"/>
                <a:gd name="connsiteY29" fmla="*/ 723106 h 1654175"/>
                <a:gd name="connsiteX30" fmla="*/ 1217612 w 1988977"/>
                <a:gd name="connsiteY30" fmla="*/ 738187 h 1654175"/>
                <a:gd name="connsiteX31" fmla="*/ 1293812 w 1988977"/>
                <a:gd name="connsiteY31" fmla="*/ 735012 h 1654175"/>
                <a:gd name="connsiteX32" fmla="*/ 1373981 w 1988977"/>
                <a:gd name="connsiteY32" fmla="*/ 711993 h 1654175"/>
                <a:gd name="connsiteX33" fmla="*/ 1512886 w 1988977"/>
                <a:gd name="connsiteY33" fmla="*/ 649287 h 1654175"/>
                <a:gd name="connsiteX34" fmla="*/ 1687511 w 1988977"/>
                <a:gd name="connsiteY34" fmla="*/ 712787 h 1654175"/>
                <a:gd name="connsiteX35" fmla="*/ 1766886 w 1988977"/>
                <a:gd name="connsiteY35" fmla="*/ 731837 h 1654175"/>
                <a:gd name="connsiteX36" fmla="*/ 1862137 w 1988977"/>
                <a:gd name="connsiteY36" fmla="*/ 773114 h 1654175"/>
                <a:gd name="connsiteX37" fmla="*/ 1979612 w 1988977"/>
                <a:gd name="connsiteY37" fmla="*/ 582614 h 1654175"/>
                <a:gd name="connsiteX38" fmla="*/ 1944687 w 1988977"/>
                <a:gd name="connsiteY38" fmla="*/ 522289 h 1654175"/>
                <a:gd name="connsiteX39" fmla="*/ 1922462 w 1988977"/>
                <a:gd name="connsiteY39" fmla="*/ 455614 h 1654175"/>
                <a:gd name="connsiteX40" fmla="*/ 1878011 w 1988977"/>
                <a:gd name="connsiteY40" fmla="*/ 385762 h 1654175"/>
                <a:gd name="connsiteX41" fmla="*/ 1808162 w 1988977"/>
                <a:gd name="connsiteY41" fmla="*/ 258763 h 1654175"/>
                <a:gd name="connsiteX42" fmla="*/ 1849437 w 1988977"/>
                <a:gd name="connsiteY42" fmla="*/ 163513 h 1654175"/>
                <a:gd name="connsiteX43" fmla="*/ 1855787 w 1988977"/>
                <a:gd name="connsiteY43" fmla="*/ 74613 h 1654175"/>
                <a:gd name="connsiteX44" fmla="*/ 1885156 w 1988977"/>
                <a:gd name="connsiteY44" fmla="*/ 0 h 1654175"/>
                <a:gd name="connsiteX0" fmla="*/ 69056 w 1988977"/>
                <a:gd name="connsiteY0" fmla="*/ 1654175 h 1654175"/>
                <a:gd name="connsiteX1" fmla="*/ 0 w 1988977"/>
                <a:gd name="connsiteY1" fmla="*/ 1637506 h 1654175"/>
                <a:gd name="connsiteX2" fmla="*/ 9525 w 1988977"/>
                <a:gd name="connsiteY2" fmla="*/ 1580356 h 1654175"/>
                <a:gd name="connsiteX3" fmla="*/ 0 w 1988977"/>
                <a:gd name="connsiteY3" fmla="*/ 1561306 h 1654175"/>
                <a:gd name="connsiteX4" fmla="*/ 50006 w 1988977"/>
                <a:gd name="connsiteY4" fmla="*/ 1530350 h 1654175"/>
                <a:gd name="connsiteX5" fmla="*/ 50006 w 1988977"/>
                <a:gd name="connsiteY5" fmla="*/ 1447006 h 1654175"/>
                <a:gd name="connsiteX6" fmla="*/ 52387 w 1988977"/>
                <a:gd name="connsiteY6" fmla="*/ 1427956 h 1654175"/>
                <a:gd name="connsiteX7" fmla="*/ 90487 w 1988977"/>
                <a:gd name="connsiteY7" fmla="*/ 1404143 h 1654175"/>
                <a:gd name="connsiteX8" fmla="*/ 109537 w 1988977"/>
                <a:gd name="connsiteY8" fmla="*/ 1332706 h 1654175"/>
                <a:gd name="connsiteX9" fmla="*/ 116681 w 1988977"/>
                <a:gd name="connsiteY9" fmla="*/ 1294606 h 1654175"/>
                <a:gd name="connsiteX10" fmla="*/ 100012 w 1988977"/>
                <a:gd name="connsiteY10" fmla="*/ 1273175 h 1654175"/>
                <a:gd name="connsiteX11" fmla="*/ 223837 w 1988977"/>
                <a:gd name="connsiteY11" fmla="*/ 1213643 h 1654175"/>
                <a:gd name="connsiteX12" fmla="*/ 240506 w 1988977"/>
                <a:gd name="connsiteY12" fmla="*/ 1216025 h 1654175"/>
                <a:gd name="connsiteX13" fmla="*/ 295275 w 1988977"/>
                <a:gd name="connsiteY13" fmla="*/ 1130300 h 1654175"/>
                <a:gd name="connsiteX14" fmla="*/ 323850 w 1988977"/>
                <a:gd name="connsiteY14" fmla="*/ 1120775 h 1654175"/>
                <a:gd name="connsiteX15" fmla="*/ 381000 w 1988977"/>
                <a:gd name="connsiteY15" fmla="*/ 1085056 h 1654175"/>
                <a:gd name="connsiteX16" fmla="*/ 392906 w 1988977"/>
                <a:gd name="connsiteY16" fmla="*/ 1061243 h 1654175"/>
                <a:gd name="connsiteX17" fmla="*/ 457200 w 1988977"/>
                <a:gd name="connsiteY17" fmla="*/ 1063625 h 1654175"/>
                <a:gd name="connsiteX18" fmla="*/ 511968 w 1988977"/>
                <a:gd name="connsiteY18" fmla="*/ 1004093 h 1654175"/>
                <a:gd name="connsiteX19" fmla="*/ 483393 w 1988977"/>
                <a:gd name="connsiteY19" fmla="*/ 961231 h 1654175"/>
                <a:gd name="connsiteX20" fmla="*/ 571500 w 1988977"/>
                <a:gd name="connsiteY20" fmla="*/ 923131 h 1654175"/>
                <a:gd name="connsiteX21" fmla="*/ 592931 w 1988977"/>
                <a:gd name="connsiteY21" fmla="*/ 877887 h 1654175"/>
                <a:gd name="connsiteX22" fmla="*/ 626268 w 1988977"/>
                <a:gd name="connsiteY22" fmla="*/ 875506 h 1654175"/>
                <a:gd name="connsiteX23" fmla="*/ 673893 w 1988977"/>
                <a:gd name="connsiteY23" fmla="*/ 842168 h 1654175"/>
                <a:gd name="connsiteX24" fmla="*/ 747712 w 1988977"/>
                <a:gd name="connsiteY24" fmla="*/ 832643 h 1654175"/>
                <a:gd name="connsiteX25" fmla="*/ 816768 w 1988977"/>
                <a:gd name="connsiteY25" fmla="*/ 808831 h 1654175"/>
                <a:gd name="connsiteX26" fmla="*/ 904875 w 1988977"/>
                <a:gd name="connsiteY26" fmla="*/ 758825 h 1654175"/>
                <a:gd name="connsiteX27" fmla="*/ 1012825 w 1988977"/>
                <a:gd name="connsiteY27" fmla="*/ 731837 h 1654175"/>
                <a:gd name="connsiteX28" fmla="*/ 1067593 w 1988977"/>
                <a:gd name="connsiteY28" fmla="*/ 756443 h 1654175"/>
                <a:gd name="connsiteX29" fmla="*/ 1100931 w 1988977"/>
                <a:gd name="connsiteY29" fmla="*/ 723106 h 1654175"/>
                <a:gd name="connsiteX30" fmla="*/ 1217612 w 1988977"/>
                <a:gd name="connsiteY30" fmla="*/ 738187 h 1654175"/>
                <a:gd name="connsiteX31" fmla="*/ 1293812 w 1988977"/>
                <a:gd name="connsiteY31" fmla="*/ 735012 h 1654175"/>
                <a:gd name="connsiteX32" fmla="*/ 1373981 w 1988977"/>
                <a:gd name="connsiteY32" fmla="*/ 711993 h 1654175"/>
                <a:gd name="connsiteX33" fmla="*/ 1512886 w 1988977"/>
                <a:gd name="connsiteY33" fmla="*/ 649287 h 1654175"/>
                <a:gd name="connsiteX34" fmla="*/ 1687511 w 1988977"/>
                <a:gd name="connsiteY34" fmla="*/ 712787 h 1654175"/>
                <a:gd name="connsiteX35" fmla="*/ 1766886 w 1988977"/>
                <a:gd name="connsiteY35" fmla="*/ 731837 h 1654175"/>
                <a:gd name="connsiteX36" fmla="*/ 1862137 w 1988977"/>
                <a:gd name="connsiteY36" fmla="*/ 773114 h 1654175"/>
                <a:gd name="connsiteX37" fmla="*/ 1912937 w 1988977"/>
                <a:gd name="connsiteY37" fmla="*/ 773114 h 1654175"/>
                <a:gd name="connsiteX38" fmla="*/ 1979612 w 1988977"/>
                <a:gd name="connsiteY38" fmla="*/ 582614 h 1654175"/>
                <a:gd name="connsiteX39" fmla="*/ 1944687 w 1988977"/>
                <a:gd name="connsiteY39" fmla="*/ 522289 h 1654175"/>
                <a:gd name="connsiteX40" fmla="*/ 1922462 w 1988977"/>
                <a:gd name="connsiteY40" fmla="*/ 455614 h 1654175"/>
                <a:gd name="connsiteX41" fmla="*/ 1878011 w 1988977"/>
                <a:gd name="connsiteY41" fmla="*/ 385762 h 1654175"/>
                <a:gd name="connsiteX42" fmla="*/ 1808162 w 1988977"/>
                <a:gd name="connsiteY42" fmla="*/ 258763 h 1654175"/>
                <a:gd name="connsiteX43" fmla="*/ 1849437 w 1988977"/>
                <a:gd name="connsiteY43" fmla="*/ 163513 h 1654175"/>
                <a:gd name="connsiteX44" fmla="*/ 1855787 w 1988977"/>
                <a:gd name="connsiteY44" fmla="*/ 74613 h 1654175"/>
                <a:gd name="connsiteX45" fmla="*/ 1885156 w 1988977"/>
                <a:gd name="connsiteY45" fmla="*/ 0 h 1654175"/>
                <a:gd name="connsiteX0" fmla="*/ 69056 w 1992422"/>
                <a:gd name="connsiteY0" fmla="*/ 1654175 h 1654175"/>
                <a:gd name="connsiteX1" fmla="*/ 0 w 1992422"/>
                <a:gd name="connsiteY1" fmla="*/ 1637506 h 1654175"/>
                <a:gd name="connsiteX2" fmla="*/ 9525 w 1992422"/>
                <a:gd name="connsiteY2" fmla="*/ 1580356 h 1654175"/>
                <a:gd name="connsiteX3" fmla="*/ 0 w 1992422"/>
                <a:gd name="connsiteY3" fmla="*/ 1561306 h 1654175"/>
                <a:gd name="connsiteX4" fmla="*/ 50006 w 1992422"/>
                <a:gd name="connsiteY4" fmla="*/ 1530350 h 1654175"/>
                <a:gd name="connsiteX5" fmla="*/ 50006 w 1992422"/>
                <a:gd name="connsiteY5" fmla="*/ 1447006 h 1654175"/>
                <a:gd name="connsiteX6" fmla="*/ 52387 w 1992422"/>
                <a:gd name="connsiteY6" fmla="*/ 1427956 h 1654175"/>
                <a:gd name="connsiteX7" fmla="*/ 90487 w 1992422"/>
                <a:gd name="connsiteY7" fmla="*/ 1404143 h 1654175"/>
                <a:gd name="connsiteX8" fmla="*/ 109537 w 1992422"/>
                <a:gd name="connsiteY8" fmla="*/ 1332706 h 1654175"/>
                <a:gd name="connsiteX9" fmla="*/ 116681 w 1992422"/>
                <a:gd name="connsiteY9" fmla="*/ 1294606 h 1654175"/>
                <a:gd name="connsiteX10" fmla="*/ 100012 w 1992422"/>
                <a:gd name="connsiteY10" fmla="*/ 1273175 h 1654175"/>
                <a:gd name="connsiteX11" fmla="*/ 223837 w 1992422"/>
                <a:gd name="connsiteY11" fmla="*/ 1213643 h 1654175"/>
                <a:gd name="connsiteX12" fmla="*/ 240506 w 1992422"/>
                <a:gd name="connsiteY12" fmla="*/ 1216025 h 1654175"/>
                <a:gd name="connsiteX13" fmla="*/ 295275 w 1992422"/>
                <a:gd name="connsiteY13" fmla="*/ 1130300 h 1654175"/>
                <a:gd name="connsiteX14" fmla="*/ 323850 w 1992422"/>
                <a:gd name="connsiteY14" fmla="*/ 1120775 h 1654175"/>
                <a:gd name="connsiteX15" fmla="*/ 381000 w 1992422"/>
                <a:gd name="connsiteY15" fmla="*/ 1085056 h 1654175"/>
                <a:gd name="connsiteX16" fmla="*/ 392906 w 1992422"/>
                <a:gd name="connsiteY16" fmla="*/ 1061243 h 1654175"/>
                <a:gd name="connsiteX17" fmla="*/ 457200 w 1992422"/>
                <a:gd name="connsiteY17" fmla="*/ 1063625 h 1654175"/>
                <a:gd name="connsiteX18" fmla="*/ 511968 w 1992422"/>
                <a:gd name="connsiteY18" fmla="*/ 1004093 h 1654175"/>
                <a:gd name="connsiteX19" fmla="*/ 483393 w 1992422"/>
                <a:gd name="connsiteY19" fmla="*/ 961231 h 1654175"/>
                <a:gd name="connsiteX20" fmla="*/ 571500 w 1992422"/>
                <a:gd name="connsiteY20" fmla="*/ 923131 h 1654175"/>
                <a:gd name="connsiteX21" fmla="*/ 592931 w 1992422"/>
                <a:gd name="connsiteY21" fmla="*/ 877887 h 1654175"/>
                <a:gd name="connsiteX22" fmla="*/ 626268 w 1992422"/>
                <a:gd name="connsiteY22" fmla="*/ 875506 h 1654175"/>
                <a:gd name="connsiteX23" fmla="*/ 673893 w 1992422"/>
                <a:gd name="connsiteY23" fmla="*/ 842168 h 1654175"/>
                <a:gd name="connsiteX24" fmla="*/ 747712 w 1992422"/>
                <a:gd name="connsiteY24" fmla="*/ 832643 h 1654175"/>
                <a:gd name="connsiteX25" fmla="*/ 816768 w 1992422"/>
                <a:gd name="connsiteY25" fmla="*/ 808831 h 1654175"/>
                <a:gd name="connsiteX26" fmla="*/ 904875 w 1992422"/>
                <a:gd name="connsiteY26" fmla="*/ 758825 h 1654175"/>
                <a:gd name="connsiteX27" fmla="*/ 1012825 w 1992422"/>
                <a:gd name="connsiteY27" fmla="*/ 731837 h 1654175"/>
                <a:gd name="connsiteX28" fmla="*/ 1067593 w 1992422"/>
                <a:gd name="connsiteY28" fmla="*/ 756443 h 1654175"/>
                <a:gd name="connsiteX29" fmla="*/ 1100931 w 1992422"/>
                <a:gd name="connsiteY29" fmla="*/ 723106 h 1654175"/>
                <a:gd name="connsiteX30" fmla="*/ 1217612 w 1992422"/>
                <a:gd name="connsiteY30" fmla="*/ 738187 h 1654175"/>
                <a:gd name="connsiteX31" fmla="*/ 1293812 w 1992422"/>
                <a:gd name="connsiteY31" fmla="*/ 735012 h 1654175"/>
                <a:gd name="connsiteX32" fmla="*/ 1373981 w 1992422"/>
                <a:gd name="connsiteY32" fmla="*/ 711993 h 1654175"/>
                <a:gd name="connsiteX33" fmla="*/ 1512886 w 1992422"/>
                <a:gd name="connsiteY33" fmla="*/ 649287 h 1654175"/>
                <a:gd name="connsiteX34" fmla="*/ 1687511 w 1992422"/>
                <a:gd name="connsiteY34" fmla="*/ 712787 h 1654175"/>
                <a:gd name="connsiteX35" fmla="*/ 1766886 w 1992422"/>
                <a:gd name="connsiteY35" fmla="*/ 731837 h 1654175"/>
                <a:gd name="connsiteX36" fmla="*/ 1862137 w 1992422"/>
                <a:gd name="connsiteY36" fmla="*/ 773114 h 1654175"/>
                <a:gd name="connsiteX37" fmla="*/ 1912937 w 1992422"/>
                <a:gd name="connsiteY37" fmla="*/ 773114 h 1654175"/>
                <a:gd name="connsiteX38" fmla="*/ 1989137 w 1992422"/>
                <a:gd name="connsiteY38" fmla="*/ 754064 h 1654175"/>
                <a:gd name="connsiteX39" fmla="*/ 1979612 w 1992422"/>
                <a:gd name="connsiteY39" fmla="*/ 582614 h 1654175"/>
                <a:gd name="connsiteX40" fmla="*/ 1944687 w 1992422"/>
                <a:gd name="connsiteY40" fmla="*/ 522289 h 1654175"/>
                <a:gd name="connsiteX41" fmla="*/ 1922462 w 1992422"/>
                <a:gd name="connsiteY41" fmla="*/ 455614 h 1654175"/>
                <a:gd name="connsiteX42" fmla="*/ 1878011 w 1992422"/>
                <a:gd name="connsiteY42" fmla="*/ 385762 h 1654175"/>
                <a:gd name="connsiteX43" fmla="*/ 1808162 w 1992422"/>
                <a:gd name="connsiteY43" fmla="*/ 258763 h 1654175"/>
                <a:gd name="connsiteX44" fmla="*/ 1849437 w 1992422"/>
                <a:gd name="connsiteY44" fmla="*/ 163513 h 1654175"/>
                <a:gd name="connsiteX45" fmla="*/ 1855787 w 1992422"/>
                <a:gd name="connsiteY45" fmla="*/ 74613 h 1654175"/>
                <a:gd name="connsiteX46" fmla="*/ 1885156 w 1992422"/>
                <a:gd name="connsiteY46" fmla="*/ 0 h 1654175"/>
                <a:gd name="connsiteX0" fmla="*/ 69056 w 2014653"/>
                <a:gd name="connsiteY0" fmla="*/ 1654175 h 1654175"/>
                <a:gd name="connsiteX1" fmla="*/ 0 w 2014653"/>
                <a:gd name="connsiteY1" fmla="*/ 1637506 h 1654175"/>
                <a:gd name="connsiteX2" fmla="*/ 9525 w 2014653"/>
                <a:gd name="connsiteY2" fmla="*/ 1580356 h 1654175"/>
                <a:gd name="connsiteX3" fmla="*/ 0 w 2014653"/>
                <a:gd name="connsiteY3" fmla="*/ 1561306 h 1654175"/>
                <a:gd name="connsiteX4" fmla="*/ 50006 w 2014653"/>
                <a:gd name="connsiteY4" fmla="*/ 1530350 h 1654175"/>
                <a:gd name="connsiteX5" fmla="*/ 50006 w 2014653"/>
                <a:gd name="connsiteY5" fmla="*/ 1447006 h 1654175"/>
                <a:gd name="connsiteX6" fmla="*/ 52387 w 2014653"/>
                <a:gd name="connsiteY6" fmla="*/ 1427956 h 1654175"/>
                <a:gd name="connsiteX7" fmla="*/ 90487 w 2014653"/>
                <a:gd name="connsiteY7" fmla="*/ 1404143 h 1654175"/>
                <a:gd name="connsiteX8" fmla="*/ 109537 w 2014653"/>
                <a:gd name="connsiteY8" fmla="*/ 1332706 h 1654175"/>
                <a:gd name="connsiteX9" fmla="*/ 116681 w 2014653"/>
                <a:gd name="connsiteY9" fmla="*/ 1294606 h 1654175"/>
                <a:gd name="connsiteX10" fmla="*/ 100012 w 2014653"/>
                <a:gd name="connsiteY10" fmla="*/ 1273175 h 1654175"/>
                <a:gd name="connsiteX11" fmla="*/ 223837 w 2014653"/>
                <a:gd name="connsiteY11" fmla="*/ 1213643 h 1654175"/>
                <a:gd name="connsiteX12" fmla="*/ 240506 w 2014653"/>
                <a:gd name="connsiteY12" fmla="*/ 1216025 h 1654175"/>
                <a:gd name="connsiteX13" fmla="*/ 295275 w 2014653"/>
                <a:gd name="connsiteY13" fmla="*/ 1130300 h 1654175"/>
                <a:gd name="connsiteX14" fmla="*/ 323850 w 2014653"/>
                <a:gd name="connsiteY14" fmla="*/ 1120775 h 1654175"/>
                <a:gd name="connsiteX15" fmla="*/ 381000 w 2014653"/>
                <a:gd name="connsiteY15" fmla="*/ 1085056 h 1654175"/>
                <a:gd name="connsiteX16" fmla="*/ 392906 w 2014653"/>
                <a:gd name="connsiteY16" fmla="*/ 1061243 h 1654175"/>
                <a:gd name="connsiteX17" fmla="*/ 457200 w 2014653"/>
                <a:gd name="connsiteY17" fmla="*/ 1063625 h 1654175"/>
                <a:gd name="connsiteX18" fmla="*/ 511968 w 2014653"/>
                <a:gd name="connsiteY18" fmla="*/ 1004093 h 1654175"/>
                <a:gd name="connsiteX19" fmla="*/ 483393 w 2014653"/>
                <a:gd name="connsiteY19" fmla="*/ 961231 h 1654175"/>
                <a:gd name="connsiteX20" fmla="*/ 571500 w 2014653"/>
                <a:gd name="connsiteY20" fmla="*/ 923131 h 1654175"/>
                <a:gd name="connsiteX21" fmla="*/ 592931 w 2014653"/>
                <a:gd name="connsiteY21" fmla="*/ 877887 h 1654175"/>
                <a:gd name="connsiteX22" fmla="*/ 626268 w 2014653"/>
                <a:gd name="connsiteY22" fmla="*/ 875506 h 1654175"/>
                <a:gd name="connsiteX23" fmla="*/ 673893 w 2014653"/>
                <a:gd name="connsiteY23" fmla="*/ 842168 h 1654175"/>
                <a:gd name="connsiteX24" fmla="*/ 747712 w 2014653"/>
                <a:gd name="connsiteY24" fmla="*/ 832643 h 1654175"/>
                <a:gd name="connsiteX25" fmla="*/ 816768 w 2014653"/>
                <a:gd name="connsiteY25" fmla="*/ 808831 h 1654175"/>
                <a:gd name="connsiteX26" fmla="*/ 904875 w 2014653"/>
                <a:gd name="connsiteY26" fmla="*/ 758825 h 1654175"/>
                <a:gd name="connsiteX27" fmla="*/ 1012825 w 2014653"/>
                <a:gd name="connsiteY27" fmla="*/ 731837 h 1654175"/>
                <a:gd name="connsiteX28" fmla="*/ 1067593 w 2014653"/>
                <a:gd name="connsiteY28" fmla="*/ 756443 h 1654175"/>
                <a:gd name="connsiteX29" fmla="*/ 1100931 w 2014653"/>
                <a:gd name="connsiteY29" fmla="*/ 723106 h 1654175"/>
                <a:gd name="connsiteX30" fmla="*/ 1217612 w 2014653"/>
                <a:gd name="connsiteY30" fmla="*/ 738187 h 1654175"/>
                <a:gd name="connsiteX31" fmla="*/ 1293812 w 2014653"/>
                <a:gd name="connsiteY31" fmla="*/ 735012 h 1654175"/>
                <a:gd name="connsiteX32" fmla="*/ 1373981 w 2014653"/>
                <a:gd name="connsiteY32" fmla="*/ 711993 h 1654175"/>
                <a:gd name="connsiteX33" fmla="*/ 1512886 w 2014653"/>
                <a:gd name="connsiteY33" fmla="*/ 649287 h 1654175"/>
                <a:gd name="connsiteX34" fmla="*/ 1687511 w 2014653"/>
                <a:gd name="connsiteY34" fmla="*/ 712787 h 1654175"/>
                <a:gd name="connsiteX35" fmla="*/ 1766886 w 2014653"/>
                <a:gd name="connsiteY35" fmla="*/ 731837 h 1654175"/>
                <a:gd name="connsiteX36" fmla="*/ 1862137 w 2014653"/>
                <a:gd name="connsiteY36" fmla="*/ 773114 h 1654175"/>
                <a:gd name="connsiteX37" fmla="*/ 1912937 w 2014653"/>
                <a:gd name="connsiteY37" fmla="*/ 773114 h 1654175"/>
                <a:gd name="connsiteX38" fmla="*/ 1989137 w 2014653"/>
                <a:gd name="connsiteY38" fmla="*/ 754064 h 1654175"/>
                <a:gd name="connsiteX39" fmla="*/ 2014536 w 2014653"/>
                <a:gd name="connsiteY39" fmla="*/ 661989 h 1654175"/>
                <a:gd name="connsiteX40" fmla="*/ 1979612 w 2014653"/>
                <a:gd name="connsiteY40" fmla="*/ 582614 h 1654175"/>
                <a:gd name="connsiteX41" fmla="*/ 1944687 w 2014653"/>
                <a:gd name="connsiteY41" fmla="*/ 522289 h 1654175"/>
                <a:gd name="connsiteX42" fmla="*/ 1922462 w 2014653"/>
                <a:gd name="connsiteY42" fmla="*/ 455614 h 1654175"/>
                <a:gd name="connsiteX43" fmla="*/ 1878011 w 2014653"/>
                <a:gd name="connsiteY43" fmla="*/ 385762 h 1654175"/>
                <a:gd name="connsiteX44" fmla="*/ 1808162 w 2014653"/>
                <a:gd name="connsiteY44" fmla="*/ 258763 h 1654175"/>
                <a:gd name="connsiteX45" fmla="*/ 1849437 w 2014653"/>
                <a:gd name="connsiteY45" fmla="*/ 163513 h 1654175"/>
                <a:gd name="connsiteX46" fmla="*/ 1855787 w 2014653"/>
                <a:gd name="connsiteY46" fmla="*/ 74613 h 1654175"/>
                <a:gd name="connsiteX47" fmla="*/ 1885156 w 2014653"/>
                <a:gd name="connsiteY47" fmla="*/ 0 h 1654175"/>
                <a:gd name="connsiteX0" fmla="*/ 69056 w 2018498"/>
                <a:gd name="connsiteY0" fmla="*/ 1654175 h 1654175"/>
                <a:gd name="connsiteX1" fmla="*/ 0 w 2018498"/>
                <a:gd name="connsiteY1" fmla="*/ 1637506 h 1654175"/>
                <a:gd name="connsiteX2" fmla="*/ 9525 w 2018498"/>
                <a:gd name="connsiteY2" fmla="*/ 1580356 h 1654175"/>
                <a:gd name="connsiteX3" fmla="*/ 0 w 2018498"/>
                <a:gd name="connsiteY3" fmla="*/ 1561306 h 1654175"/>
                <a:gd name="connsiteX4" fmla="*/ 50006 w 2018498"/>
                <a:gd name="connsiteY4" fmla="*/ 1530350 h 1654175"/>
                <a:gd name="connsiteX5" fmla="*/ 50006 w 2018498"/>
                <a:gd name="connsiteY5" fmla="*/ 1447006 h 1654175"/>
                <a:gd name="connsiteX6" fmla="*/ 52387 w 2018498"/>
                <a:gd name="connsiteY6" fmla="*/ 1427956 h 1654175"/>
                <a:gd name="connsiteX7" fmla="*/ 90487 w 2018498"/>
                <a:gd name="connsiteY7" fmla="*/ 1404143 h 1654175"/>
                <a:gd name="connsiteX8" fmla="*/ 109537 w 2018498"/>
                <a:gd name="connsiteY8" fmla="*/ 1332706 h 1654175"/>
                <a:gd name="connsiteX9" fmla="*/ 116681 w 2018498"/>
                <a:gd name="connsiteY9" fmla="*/ 1294606 h 1654175"/>
                <a:gd name="connsiteX10" fmla="*/ 100012 w 2018498"/>
                <a:gd name="connsiteY10" fmla="*/ 1273175 h 1654175"/>
                <a:gd name="connsiteX11" fmla="*/ 223837 w 2018498"/>
                <a:gd name="connsiteY11" fmla="*/ 1213643 h 1654175"/>
                <a:gd name="connsiteX12" fmla="*/ 240506 w 2018498"/>
                <a:gd name="connsiteY12" fmla="*/ 1216025 h 1654175"/>
                <a:gd name="connsiteX13" fmla="*/ 295275 w 2018498"/>
                <a:gd name="connsiteY13" fmla="*/ 1130300 h 1654175"/>
                <a:gd name="connsiteX14" fmla="*/ 323850 w 2018498"/>
                <a:gd name="connsiteY14" fmla="*/ 1120775 h 1654175"/>
                <a:gd name="connsiteX15" fmla="*/ 381000 w 2018498"/>
                <a:gd name="connsiteY15" fmla="*/ 1085056 h 1654175"/>
                <a:gd name="connsiteX16" fmla="*/ 392906 w 2018498"/>
                <a:gd name="connsiteY16" fmla="*/ 1061243 h 1654175"/>
                <a:gd name="connsiteX17" fmla="*/ 457200 w 2018498"/>
                <a:gd name="connsiteY17" fmla="*/ 1063625 h 1654175"/>
                <a:gd name="connsiteX18" fmla="*/ 511968 w 2018498"/>
                <a:gd name="connsiteY18" fmla="*/ 1004093 h 1654175"/>
                <a:gd name="connsiteX19" fmla="*/ 483393 w 2018498"/>
                <a:gd name="connsiteY19" fmla="*/ 961231 h 1654175"/>
                <a:gd name="connsiteX20" fmla="*/ 571500 w 2018498"/>
                <a:gd name="connsiteY20" fmla="*/ 923131 h 1654175"/>
                <a:gd name="connsiteX21" fmla="*/ 592931 w 2018498"/>
                <a:gd name="connsiteY21" fmla="*/ 877887 h 1654175"/>
                <a:gd name="connsiteX22" fmla="*/ 626268 w 2018498"/>
                <a:gd name="connsiteY22" fmla="*/ 875506 h 1654175"/>
                <a:gd name="connsiteX23" fmla="*/ 673893 w 2018498"/>
                <a:gd name="connsiteY23" fmla="*/ 842168 h 1654175"/>
                <a:gd name="connsiteX24" fmla="*/ 747712 w 2018498"/>
                <a:gd name="connsiteY24" fmla="*/ 832643 h 1654175"/>
                <a:gd name="connsiteX25" fmla="*/ 816768 w 2018498"/>
                <a:gd name="connsiteY25" fmla="*/ 808831 h 1654175"/>
                <a:gd name="connsiteX26" fmla="*/ 904875 w 2018498"/>
                <a:gd name="connsiteY26" fmla="*/ 758825 h 1654175"/>
                <a:gd name="connsiteX27" fmla="*/ 1012825 w 2018498"/>
                <a:gd name="connsiteY27" fmla="*/ 731837 h 1654175"/>
                <a:gd name="connsiteX28" fmla="*/ 1067593 w 2018498"/>
                <a:gd name="connsiteY28" fmla="*/ 756443 h 1654175"/>
                <a:gd name="connsiteX29" fmla="*/ 1100931 w 2018498"/>
                <a:gd name="connsiteY29" fmla="*/ 723106 h 1654175"/>
                <a:gd name="connsiteX30" fmla="*/ 1217612 w 2018498"/>
                <a:gd name="connsiteY30" fmla="*/ 738187 h 1654175"/>
                <a:gd name="connsiteX31" fmla="*/ 1293812 w 2018498"/>
                <a:gd name="connsiteY31" fmla="*/ 735012 h 1654175"/>
                <a:gd name="connsiteX32" fmla="*/ 1373981 w 2018498"/>
                <a:gd name="connsiteY32" fmla="*/ 711993 h 1654175"/>
                <a:gd name="connsiteX33" fmla="*/ 1512886 w 2018498"/>
                <a:gd name="connsiteY33" fmla="*/ 649287 h 1654175"/>
                <a:gd name="connsiteX34" fmla="*/ 1687511 w 2018498"/>
                <a:gd name="connsiteY34" fmla="*/ 712787 h 1654175"/>
                <a:gd name="connsiteX35" fmla="*/ 1766886 w 2018498"/>
                <a:gd name="connsiteY35" fmla="*/ 731837 h 1654175"/>
                <a:gd name="connsiteX36" fmla="*/ 1862137 w 2018498"/>
                <a:gd name="connsiteY36" fmla="*/ 773114 h 1654175"/>
                <a:gd name="connsiteX37" fmla="*/ 1912937 w 2018498"/>
                <a:gd name="connsiteY37" fmla="*/ 773114 h 1654175"/>
                <a:gd name="connsiteX38" fmla="*/ 1989137 w 2018498"/>
                <a:gd name="connsiteY38" fmla="*/ 754064 h 1654175"/>
                <a:gd name="connsiteX39" fmla="*/ 2014536 w 2018498"/>
                <a:gd name="connsiteY39" fmla="*/ 661989 h 1654175"/>
                <a:gd name="connsiteX40" fmla="*/ 1979612 w 2018498"/>
                <a:gd name="connsiteY40" fmla="*/ 582614 h 1654175"/>
                <a:gd name="connsiteX41" fmla="*/ 1944687 w 2018498"/>
                <a:gd name="connsiteY41" fmla="*/ 522289 h 1654175"/>
                <a:gd name="connsiteX42" fmla="*/ 1922462 w 2018498"/>
                <a:gd name="connsiteY42" fmla="*/ 455614 h 1654175"/>
                <a:gd name="connsiteX43" fmla="*/ 1878011 w 2018498"/>
                <a:gd name="connsiteY43" fmla="*/ 385762 h 1654175"/>
                <a:gd name="connsiteX44" fmla="*/ 1808162 w 2018498"/>
                <a:gd name="connsiteY44" fmla="*/ 258763 h 1654175"/>
                <a:gd name="connsiteX45" fmla="*/ 1849437 w 2018498"/>
                <a:gd name="connsiteY45" fmla="*/ 163513 h 1654175"/>
                <a:gd name="connsiteX46" fmla="*/ 1855787 w 2018498"/>
                <a:gd name="connsiteY46" fmla="*/ 74613 h 1654175"/>
                <a:gd name="connsiteX47" fmla="*/ 1885156 w 2018498"/>
                <a:gd name="connsiteY47" fmla="*/ 0 h 1654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018498" h="1654175">
                  <a:moveTo>
                    <a:pt x="69056" y="1654175"/>
                  </a:moveTo>
                  <a:lnTo>
                    <a:pt x="0" y="1637506"/>
                  </a:lnTo>
                  <a:lnTo>
                    <a:pt x="9525" y="1580356"/>
                  </a:lnTo>
                  <a:lnTo>
                    <a:pt x="0" y="1561306"/>
                  </a:lnTo>
                  <a:lnTo>
                    <a:pt x="50006" y="1530350"/>
                  </a:lnTo>
                  <a:lnTo>
                    <a:pt x="50006" y="1447006"/>
                  </a:lnTo>
                  <a:lnTo>
                    <a:pt x="52387" y="1427956"/>
                  </a:lnTo>
                  <a:lnTo>
                    <a:pt x="90487" y="1404143"/>
                  </a:lnTo>
                  <a:lnTo>
                    <a:pt x="109537" y="1332706"/>
                  </a:lnTo>
                  <a:lnTo>
                    <a:pt x="116681" y="1294606"/>
                  </a:lnTo>
                  <a:lnTo>
                    <a:pt x="100012" y="1273175"/>
                  </a:lnTo>
                  <a:lnTo>
                    <a:pt x="223837" y="1213643"/>
                  </a:lnTo>
                  <a:lnTo>
                    <a:pt x="240506" y="1216025"/>
                  </a:lnTo>
                  <a:lnTo>
                    <a:pt x="295275" y="1130300"/>
                  </a:lnTo>
                  <a:lnTo>
                    <a:pt x="323850" y="1120775"/>
                  </a:lnTo>
                  <a:lnTo>
                    <a:pt x="381000" y="1085056"/>
                  </a:lnTo>
                  <a:lnTo>
                    <a:pt x="392906" y="1061243"/>
                  </a:lnTo>
                  <a:lnTo>
                    <a:pt x="457200" y="1063625"/>
                  </a:lnTo>
                  <a:lnTo>
                    <a:pt x="511968" y="1004093"/>
                  </a:lnTo>
                  <a:lnTo>
                    <a:pt x="483393" y="961231"/>
                  </a:lnTo>
                  <a:lnTo>
                    <a:pt x="571500" y="923131"/>
                  </a:lnTo>
                  <a:lnTo>
                    <a:pt x="592931" y="877887"/>
                  </a:lnTo>
                  <a:lnTo>
                    <a:pt x="626268" y="875506"/>
                  </a:lnTo>
                  <a:lnTo>
                    <a:pt x="673893" y="842168"/>
                  </a:lnTo>
                  <a:lnTo>
                    <a:pt x="747712" y="832643"/>
                  </a:lnTo>
                  <a:lnTo>
                    <a:pt x="816768" y="808831"/>
                  </a:lnTo>
                  <a:lnTo>
                    <a:pt x="904875" y="758825"/>
                  </a:lnTo>
                  <a:lnTo>
                    <a:pt x="1012825" y="731837"/>
                  </a:lnTo>
                  <a:lnTo>
                    <a:pt x="1067593" y="756443"/>
                  </a:lnTo>
                  <a:lnTo>
                    <a:pt x="1100931" y="723106"/>
                  </a:lnTo>
                  <a:lnTo>
                    <a:pt x="1217612" y="738187"/>
                  </a:lnTo>
                  <a:lnTo>
                    <a:pt x="1293812" y="735012"/>
                  </a:lnTo>
                  <a:lnTo>
                    <a:pt x="1373981" y="711993"/>
                  </a:lnTo>
                  <a:cubicBezTo>
                    <a:pt x="1413668" y="708289"/>
                    <a:pt x="1408640" y="640953"/>
                    <a:pt x="1512886" y="649287"/>
                  </a:cubicBezTo>
                  <a:cubicBezTo>
                    <a:pt x="1566199" y="645715"/>
                    <a:pt x="1606416" y="694001"/>
                    <a:pt x="1687511" y="712787"/>
                  </a:cubicBezTo>
                  <a:cubicBezTo>
                    <a:pt x="1743603" y="728133"/>
                    <a:pt x="1714895" y="723635"/>
                    <a:pt x="1766886" y="731837"/>
                  </a:cubicBezTo>
                  <a:cubicBezTo>
                    <a:pt x="1791757" y="729192"/>
                    <a:pt x="1826683" y="797985"/>
                    <a:pt x="1862137" y="773114"/>
                  </a:cubicBezTo>
                  <a:cubicBezTo>
                    <a:pt x="1885950" y="766235"/>
                    <a:pt x="1893358" y="804864"/>
                    <a:pt x="1912937" y="773114"/>
                  </a:cubicBezTo>
                  <a:cubicBezTo>
                    <a:pt x="1926695" y="762001"/>
                    <a:pt x="1978025" y="785814"/>
                    <a:pt x="1989137" y="754064"/>
                  </a:cubicBezTo>
                  <a:cubicBezTo>
                    <a:pt x="2001308" y="738189"/>
                    <a:pt x="2016124" y="690564"/>
                    <a:pt x="2014536" y="661989"/>
                  </a:cubicBezTo>
                  <a:cubicBezTo>
                    <a:pt x="2031999" y="620714"/>
                    <a:pt x="1986491" y="608543"/>
                    <a:pt x="1979612" y="582614"/>
                  </a:cubicBezTo>
                  <a:cubicBezTo>
                    <a:pt x="2016654" y="567798"/>
                    <a:pt x="1930929" y="540810"/>
                    <a:pt x="1944687" y="522289"/>
                  </a:cubicBezTo>
                  <a:cubicBezTo>
                    <a:pt x="1958445" y="503768"/>
                    <a:pt x="1916641" y="477310"/>
                    <a:pt x="1922462" y="455614"/>
                  </a:cubicBezTo>
                  <a:cubicBezTo>
                    <a:pt x="1928283" y="433918"/>
                    <a:pt x="1879069" y="422275"/>
                    <a:pt x="1878011" y="385762"/>
                  </a:cubicBezTo>
                  <a:cubicBezTo>
                    <a:pt x="1856845" y="351366"/>
                    <a:pt x="1839250" y="327819"/>
                    <a:pt x="1808162" y="258763"/>
                  </a:cubicBezTo>
                  <a:cubicBezTo>
                    <a:pt x="1786996" y="226484"/>
                    <a:pt x="1865709" y="220398"/>
                    <a:pt x="1849437" y="163513"/>
                  </a:cubicBezTo>
                  <a:cubicBezTo>
                    <a:pt x="1840441" y="124884"/>
                    <a:pt x="1867825" y="109273"/>
                    <a:pt x="1855787" y="74613"/>
                  </a:cubicBezTo>
                  <a:cubicBezTo>
                    <a:pt x="1843749" y="39953"/>
                    <a:pt x="1892432" y="18256"/>
                    <a:pt x="1885156" y="0"/>
                  </a:cubicBezTo>
                </a:path>
              </a:pathLst>
            </a:custGeom>
            <a:noFill/>
            <a:ln w="2540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23" name="Picture 201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702" y="4539108"/>
              <a:ext cx="180767" cy="150117"/>
            </a:xfrm>
            <a:prstGeom prst="rect">
              <a:avLst/>
            </a:prstGeom>
            <a:solidFill>
              <a:srgbClr val="0070C0"/>
            </a:solidFill>
          </p:spPr>
        </p:pic>
        <p:sp>
          <p:nvSpPr>
            <p:cNvPr id="24" name="Freeform 233"/>
            <p:cNvSpPr/>
            <p:nvPr/>
          </p:nvSpPr>
          <p:spPr>
            <a:xfrm>
              <a:off x="7404181" y="2145600"/>
              <a:ext cx="177800" cy="1020233"/>
            </a:xfrm>
            <a:custGeom>
              <a:avLst/>
              <a:gdLst>
                <a:gd name="connsiteX0" fmla="*/ 22225 w 520700"/>
                <a:gd name="connsiteY0" fmla="*/ 0 h 1330325"/>
                <a:gd name="connsiteX1" fmla="*/ 0 w 520700"/>
                <a:gd name="connsiteY1" fmla="*/ 60325 h 1330325"/>
                <a:gd name="connsiteX2" fmla="*/ 41275 w 520700"/>
                <a:gd name="connsiteY2" fmla="*/ 92075 h 1330325"/>
                <a:gd name="connsiteX3" fmla="*/ 44450 w 520700"/>
                <a:gd name="connsiteY3" fmla="*/ 136525 h 1330325"/>
                <a:gd name="connsiteX4" fmla="*/ 31750 w 520700"/>
                <a:gd name="connsiteY4" fmla="*/ 165100 h 1330325"/>
                <a:gd name="connsiteX5" fmla="*/ 28575 w 520700"/>
                <a:gd name="connsiteY5" fmla="*/ 225425 h 1330325"/>
                <a:gd name="connsiteX6" fmla="*/ 41275 w 520700"/>
                <a:gd name="connsiteY6" fmla="*/ 355600 h 1330325"/>
                <a:gd name="connsiteX7" fmla="*/ 47625 w 520700"/>
                <a:gd name="connsiteY7" fmla="*/ 390525 h 1330325"/>
                <a:gd name="connsiteX8" fmla="*/ 38100 w 520700"/>
                <a:gd name="connsiteY8" fmla="*/ 428625 h 1330325"/>
                <a:gd name="connsiteX9" fmla="*/ 69850 w 520700"/>
                <a:gd name="connsiteY9" fmla="*/ 476250 h 1330325"/>
                <a:gd name="connsiteX10" fmla="*/ 92075 w 520700"/>
                <a:gd name="connsiteY10" fmla="*/ 492125 h 1330325"/>
                <a:gd name="connsiteX11" fmla="*/ 107950 w 520700"/>
                <a:gd name="connsiteY11" fmla="*/ 565150 h 1330325"/>
                <a:gd name="connsiteX12" fmla="*/ 111125 w 520700"/>
                <a:gd name="connsiteY12" fmla="*/ 593725 h 1330325"/>
                <a:gd name="connsiteX13" fmla="*/ 114300 w 520700"/>
                <a:gd name="connsiteY13" fmla="*/ 688975 h 1330325"/>
                <a:gd name="connsiteX14" fmla="*/ 133350 w 520700"/>
                <a:gd name="connsiteY14" fmla="*/ 730250 h 1330325"/>
                <a:gd name="connsiteX15" fmla="*/ 133350 w 520700"/>
                <a:gd name="connsiteY15" fmla="*/ 765175 h 1330325"/>
                <a:gd name="connsiteX16" fmla="*/ 152400 w 520700"/>
                <a:gd name="connsiteY16" fmla="*/ 825500 h 1330325"/>
                <a:gd name="connsiteX17" fmla="*/ 177800 w 520700"/>
                <a:gd name="connsiteY17" fmla="*/ 869950 h 1330325"/>
                <a:gd name="connsiteX18" fmla="*/ 203200 w 520700"/>
                <a:gd name="connsiteY18" fmla="*/ 920750 h 1330325"/>
                <a:gd name="connsiteX19" fmla="*/ 222250 w 520700"/>
                <a:gd name="connsiteY19" fmla="*/ 946150 h 1330325"/>
                <a:gd name="connsiteX20" fmla="*/ 244475 w 520700"/>
                <a:gd name="connsiteY20" fmla="*/ 952500 h 1330325"/>
                <a:gd name="connsiteX21" fmla="*/ 260350 w 520700"/>
                <a:gd name="connsiteY21" fmla="*/ 981075 h 1330325"/>
                <a:gd name="connsiteX22" fmla="*/ 279400 w 520700"/>
                <a:gd name="connsiteY22" fmla="*/ 1009650 h 1330325"/>
                <a:gd name="connsiteX23" fmla="*/ 323850 w 520700"/>
                <a:gd name="connsiteY23" fmla="*/ 1028700 h 1330325"/>
                <a:gd name="connsiteX24" fmla="*/ 349250 w 520700"/>
                <a:gd name="connsiteY24" fmla="*/ 1050925 h 1330325"/>
                <a:gd name="connsiteX25" fmla="*/ 390525 w 520700"/>
                <a:gd name="connsiteY25" fmla="*/ 1095375 h 1330325"/>
                <a:gd name="connsiteX26" fmla="*/ 412750 w 520700"/>
                <a:gd name="connsiteY26" fmla="*/ 1127125 h 1330325"/>
                <a:gd name="connsiteX27" fmla="*/ 438150 w 520700"/>
                <a:gd name="connsiteY27" fmla="*/ 1171575 h 1330325"/>
                <a:gd name="connsiteX28" fmla="*/ 444500 w 520700"/>
                <a:gd name="connsiteY28" fmla="*/ 1206500 h 1330325"/>
                <a:gd name="connsiteX29" fmla="*/ 466725 w 520700"/>
                <a:gd name="connsiteY29" fmla="*/ 1235075 h 1330325"/>
                <a:gd name="connsiteX30" fmla="*/ 473075 w 520700"/>
                <a:gd name="connsiteY30" fmla="*/ 1260475 h 1330325"/>
                <a:gd name="connsiteX31" fmla="*/ 473075 w 520700"/>
                <a:gd name="connsiteY31" fmla="*/ 1282700 h 1330325"/>
                <a:gd name="connsiteX32" fmla="*/ 495300 w 520700"/>
                <a:gd name="connsiteY32" fmla="*/ 1298575 h 1330325"/>
                <a:gd name="connsiteX33" fmla="*/ 517525 w 520700"/>
                <a:gd name="connsiteY33" fmla="*/ 1323975 h 1330325"/>
                <a:gd name="connsiteX34" fmla="*/ 520700 w 520700"/>
                <a:gd name="connsiteY34" fmla="*/ 1330325 h 1330325"/>
                <a:gd name="connsiteX0" fmla="*/ 22225 w 517525"/>
                <a:gd name="connsiteY0" fmla="*/ 0 h 1323975"/>
                <a:gd name="connsiteX1" fmla="*/ 0 w 517525"/>
                <a:gd name="connsiteY1" fmla="*/ 60325 h 1323975"/>
                <a:gd name="connsiteX2" fmla="*/ 41275 w 517525"/>
                <a:gd name="connsiteY2" fmla="*/ 92075 h 1323975"/>
                <a:gd name="connsiteX3" fmla="*/ 44450 w 517525"/>
                <a:gd name="connsiteY3" fmla="*/ 136525 h 1323975"/>
                <a:gd name="connsiteX4" fmla="*/ 31750 w 517525"/>
                <a:gd name="connsiteY4" fmla="*/ 165100 h 1323975"/>
                <a:gd name="connsiteX5" fmla="*/ 28575 w 517525"/>
                <a:gd name="connsiteY5" fmla="*/ 225425 h 1323975"/>
                <a:gd name="connsiteX6" fmla="*/ 41275 w 517525"/>
                <a:gd name="connsiteY6" fmla="*/ 355600 h 1323975"/>
                <a:gd name="connsiteX7" fmla="*/ 47625 w 517525"/>
                <a:gd name="connsiteY7" fmla="*/ 390525 h 1323975"/>
                <a:gd name="connsiteX8" fmla="*/ 38100 w 517525"/>
                <a:gd name="connsiteY8" fmla="*/ 428625 h 1323975"/>
                <a:gd name="connsiteX9" fmla="*/ 69850 w 517525"/>
                <a:gd name="connsiteY9" fmla="*/ 476250 h 1323975"/>
                <a:gd name="connsiteX10" fmla="*/ 92075 w 517525"/>
                <a:gd name="connsiteY10" fmla="*/ 492125 h 1323975"/>
                <a:gd name="connsiteX11" fmla="*/ 107950 w 517525"/>
                <a:gd name="connsiteY11" fmla="*/ 565150 h 1323975"/>
                <a:gd name="connsiteX12" fmla="*/ 111125 w 517525"/>
                <a:gd name="connsiteY12" fmla="*/ 593725 h 1323975"/>
                <a:gd name="connsiteX13" fmla="*/ 114300 w 517525"/>
                <a:gd name="connsiteY13" fmla="*/ 688975 h 1323975"/>
                <a:gd name="connsiteX14" fmla="*/ 133350 w 517525"/>
                <a:gd name="connsiteY14" fmla="*/ 730250 h 1323975"/>
                <a:gd name="connsiteX15" fmla="*/ 133350 w 517525"/>
                <a:gd name="connsiteY15" fmla="*/ 765175 h 1323975"/>
                <a:gd name="connsiteX16" fmla="*/ 152400 w 517525"/>
                <a:gd name="connsiteY16" fmla="*/ 825500 h 1323975"/>
                <a:gd name="connsiteX17" fmla="*/ 177800 w 517525"/>
                <a:gd name="connsiteY17" fmla="*/ 869950 h 1323975"/>
                <a:gd name="connsiteX18" fmla="*/ 203200 w 517525"/>
                <a:gd name="connsiteY18" fmla="*/ 920750 h 1323975"/>
                <a:gd name="connsiteX19" fmla="*/ 222250 w 517525"/>
                <a:gd name="connsiteY19" fmla="*/ 946150 h 1323975"/>
                <a:gd name="connsiteX20" fmla="*/ 244475 w 517525"/>
                <a:gd name="connsiteY20" fmla="*/ 952500 h 1323975"/>
                <a:gd name="connsiteX21" fmla="*/ 260350 w 517525"/>
                <a:gd name="connsiteY21" fmla="*/ 981075 h 1323975"/>
                <a:gd name="connsiteX22" fmla="*/ 279400 w 517525"/>
                <a:gd name="connsiteY22" fmla="*/ 1009650 h 1323975"/>
                <a:gd name="connsiteX23" fmla="*/ 323850 w 517525"/>
                <a:gd name="connsiteY23" fmla="*/ 1028700 h 1323975"/>
                <a:gd name="connsiteX24" fmla="*/ 349250 w 517525"/>
                <a:gd name="connsiteY24" fmla="*/ 1050925 h 1323975"/>
                <a:gd name="connsiteX25" fmla="*/ 390525 w 517525"/>
                <a:gd name="connsiteY25" fmla="*/ 1095375 h 1323975"/>
                <a:gd name="connsiteX26" fmla="*/ 412750 w 517525"/>
                <a:gd name="connsiteY26" fmla="*/ 1127125 h 1323975"/>
                <a:gd name="connsiteX27" fmla="*/ 438150 w 517525"/>
                <a:gd name="connsiteY27" fmla="*/ 1171575 h 1323975"/>
                <a:gd name="connsiteX28" fmla="*/ 444500 w 517525"/>
                <a:gd name="connsiteY28" fmla="*/ 1206500 h 1323975"/>
                <a:gd name="connsiteX29" fmla="*/ 466725 w 517525"/>
                <a:gd name="connsiteY29" fmla="*/ 1235075 h 1323975"/>
                <a:gd name="connsiteX30" fmla="*/ 473075 w 517525"/>
                <a:gd name="connsiteY30" fmla="*/ 1260475 h 1323975"/>
                <a:gd name="connsiteX31" fmla="*/ 473075 w 517525"/>
                <a:gd name="connsiteY31" fmla="*/ 1282700 h 1323975"/>
                <a:gd name="connsiteX32" fmla="*/ 495300 w 517525"/>
                <a:gd name="connsiteY32" fmla="*/ 1298575 h 1323975"/>
                <a:gd name="connsiteX33" fmla="*/ 517525 w 517525"/>
                <a:gd name="connsiteY33" fmla="*/ 1323975 h 1323975"/>
                <a:gd name="connsiteX0" fmla="*/ 22225 w 517525"/>
                <a:gd name="connsiteY0" fmla="*/ 0 h 1323975"/>
                <a:gd name="connsiteX1" fmla="*/ 0 w 517525"/>
                <a:gd name="connsiteY1" fmla="*/ 60325 h 1323975"/>
                <a:gd name="connsiteX2" fmla="*/ 41275 w 517525"/>
                <a:gd name="connsiteY2" fmla="*/ 92075 h 1323975"/>
                <a:gd name="connsiteX3" fmla="*/ 44450 w 517525"/>
                <a:gd name="connsiteY3" fmla="*/ 136525 h 1323975"/>
                <a:gd name="connsiteX4" fmla="*/ 31750 w 517525"/>
                <a:gd name="connsiteY4" fmla="*/ 165100 h 1323975"/>
                <a:gd name="connsiteX5" fmla="*/ 28575 w 517525"/>
                <a:gd name="connsiteY5" fmla="*/ 225425 h 1323975"/>
                <a:gd name="connsiteX6" fmla="*/ 41275 w 517525"/>
                <a:gd name="connsiteY6" fmla="*/ 355600 h 1323975"/>
                <a:gd name="connsiteX7" fmla="*/ 47625 w 517525"/>
                <a:gd name="connsiteY7" fmla="*/ 390525 h 1323975"/>
                <a:gd name="connsiteX8" fmla="*/ 38100 w 517525"/>
                <a:gd name="connsiteY8" fmla="*/ 428625 h 1323975"/>
                <a:gd name="connsiteX9" fmla="*/ 69850 w 517525"/>
                <a:gd name="connsiteY9" fmla="*/ 476250 h 1323975"/>
                <a:gd name="connsiteX10" fmla="*/ 92075 w 517525"/>
                <a:gd name="connsiteY10" fmla="*/ 492125 h 1323975"/>
                <a:gd name="connsiteX11" fmla="*/ 107950 w 517525"/>
                <a:gd name="connsiteY11" fmla="*/ 565150 h 1323975"/>
                <a:gd name="connsiteX12" fmla="*/ 111125 w 517525"/>
                <a:gd name="connsiteY12" fmla="*/ 593725 h 1323975"/>
                <a:gd name="connsiteX13" fmla="*/ 114300 w 517525"/>
                <a:gd name="connsiteY13" fmla="*/ 688975 h 1323975"/>
                <a:gd name="connsiteX14" fmla="*/ 133350 w 517525"/>
                <a:gd name="connsiteY14" fmla="*/ 730250 h 1323975"/>
                <a:gd name="connsiteX15" fmla="*/ 133350 w 517525"/>
                <a:gd name="connsiteY15" fmla="*/ 765175 h 1323975"/>
                <a:gd name="connsiteX16" fmla="*/ 152400 w 517525"/>
                <a:gd name="connsiteY16" fmla="*/ 825500 h 1323975"/>
                <a:gd name="connsiteX17" fmla="*/ 177800 w 517525"/>
                <a:gd name="connsiteY17" fmla="*/ 869950 h 1323975"/>
                <a:gd name="connsiteX18" fmla="*/ 203200 w 517525"/>
                <a:gd name="connsiteY18" fmla="*/ 920750 h 1323975"/>
                <a:gd name="connsiteX19" fmla="*/ 222250 w 517525"/>
                <a:gd name="connsiteY19" fmla="*/ 946150 h 1323975"/>
                <a:gd name="connsiteX20" fmla="*/ 244475 w 517525"/>
                <a:gd name="connsiteY20" fmla="*/ 952500 h 1323975"/>
                <a:gd name="connsiteX21" fmla="*/ 260350 w 517525"/>
                <a:gd name="connsiteY21" fmla="*/ 981075 h 1323975"/>
                <a:gd name="connsiteX22" fmla="*/ 279400 w 517525"/>
                <a:gd name="connsiteY22" fmla="*/ 1009650 h 1323975"/>
                <a:gd name="connsiteX23" fmla="*/ 323850 w 517525"/>
                <a:gd name="connsiteY23" fmla="*/ 1028700 h 1323975"/>
                <a:gd name="connsiteX24" fmla="*/ 349250 w 517525"/>
                <a:gd name="connsiteY24" fmla="*/ 1050925 h 1323975"/>
                <a:gd name="connsiteX25" fmla="*/ 390525 w 517525"/>
                <a:gd name="connsiteY25" fmla="*/ 1095375 h 1323975"/>
                <a:gd name="connsiteX26" fmla="*/ 412750 w 517525"/>
                <a:gd name="connsiteY26" fmla="*/ 1127125 h 1323975"/>
                <a:gd name="connsiteX27" fmla="*/ 438150 w 517525"/>
                <a:gd name="connsiteY27" fmla="*/ 1171575 h 1323975"/>
                <a:gd name="connsiteX28" fmla="*/ 444500 w 517525"/>
                <a:gd name="connsiteY28" fmla="*/ 1206500 h 1323975"/>
                <a:gd name="connsiteX29" fmla="*/ 466725 w 517525"/>
                <a:gd name="connsiteY29" fmla="*/ 1235075 h 1323975"/>
                <a:gd name="connsiteX30" fmla="*/ 473075 w 517525"/>
                <a:gd name="connsiteY30" fmla="*/ 1260475 h 1323975"/>
                <a:gd name="connsiteX31" fmla="*/ 473075 w 517525"/>
                <a:gd name="connsiteY31" fmla="*/ 1282700 h 1323975"/>
                <a:gd name="connsiteX32" fmla="*/ 517525 w 517525"/>
                <a:gd name="connsiteY32" fmla="*/ 1323975 h 1323975"/>
                <a:gd name="connsiteX0" fmla="*/ 22225 w 517525"/>
                <a:gd name="connsiteY0" fmla="*/ 0 h 1323975"/>
                <a:gd name="connsiteX1" fmla="*/ 0 w 517525"/>
                <a:gd name="connsiteY1" fmla="*/ 60325 h 1323975"/>
                <a:gd name="connsiteX2" fmla="*/ 41275 w 517525"/>
                <a:gd name="connsiteY2" fmla="*/ 92075 h 1323975"/>
                <a:gd name="connsiteX3" fmla="*/ 44450 w 517525"/>
                <a:gd name="connsiteY3" fmla="*/ 136525 h 1323975"/>
                <a:gd name="connsiteX4" fmla="*/ 31750 w 517525"/>
                <a:gd name="connsiteY4" fmla="*/ 165100 h 1323975"/>
                <a:gd name="connsiteX5" fmla="*/ 28575 w 517525"/>
                <a:gd name="connsiteY5" fmla="*/ 225425 h 1323975"/>
                <a:gd name="connsiteX6" fmla="*/ 41275 w 517525"/>
                <a:gd name="connsiteY6" fmla="*/ 355600 h 1323975"/>
                <a:gd name="connsiteX7" fmla="*/ 47625 w 517525"/>
                <a:gd name="connsiteY7" fmla="*/ 390525 h 1323975"/>
                <a:gd name="connsiteX8" fmla="*/ 38100 w 517525"/>
                <a:gd name="connsiteY8" fmla="*/ 428625 h 1323975"/>
                <a:gd name="connsiteX9" fmla="*/ 69850 w 517525"/>
                <a:gd name="connsiteY9" fmla="*/ 476250 h 1323975"/>
                <a:gd name="connsiteX10" fmla="*/ 92075 w 517525"/>
                <a:gd name="connsiteY10" fmla="*/ 492125 h 1323975"/>
                <a:gd name="connsiteX11" fmla="*/ 107950 w 517525"/>
                <a:gd name="connsiteY11" fmla="*/ 565150 h 1323975"/>
                <a:gd name="connsiteX12" fmla="*/ 111125 w 517525"/>
                <a:gd name="connsiteY12" fmla="*/ 593725 h 1323975"/>
                <a:gd name="connsiteX13" fmla="*/ 114300 w 517525"/>
                <a:gd name="connsiteY13" fmla="*/ 688975 h 1323975"/>
                <a:gd name="connsiteX14" fmla="*/ 133350 w 517525"/>
                <a:gd name="connsiteY14" fmla="*/ 730250 h 1323975"/>
                <a:gd name="connsiteX15" fmla="*/ 133350 w 517525"/>
                <a:gd name="connsiteY15" fmla="*/ 765175 h 1323975"/>
                <a:gd name="connsiteX16" fmla="*/ 152400 w 517525"/>
                <a:gd name="connsiteY16" fmla="*/ 825500 h 1323975"/>
                <a:gd name="connsiteX17" fmla="*/ 177800 w 517525"/>
                <a:gd name="connsiteY17" fmla="*/ 869950 h 1323975"/>
                <a:gd name="connsiteX18" fmla="*/ 203200 w 517525"/>
                <a:gd name="connsiteY18" fmla="*/ 920750 h 1323975"/>
                <a:gd name="connsiteX19" fmla="*/ 222250 w 517525"/>
                <a:gd name="connsiteY19" fmla="*/ 946150 h 1323975"/>
                <a:gd name="connsiteX20" fmla="*/ 244475 w 517525"/>
                <a:gd name="connsiteY20" fmla="*/ 952500 h 1323975"/>
                <a:gd name="connsiteX21" fmla="*/ 260350 w 517525"/>
                <a:gd name="connsiteY21" fmla="*/ 981075 h 1323975"/>
                <a:gd name="connsiteX22" fmla="*/ 279400 w 517525"/>
                <a:gd name="connsiteY22" fmla="*/ 1009650 h 1323975"/>
                <a:gd name="connsiteX23" fmla="*/ 323850 w 517525"/>
                <a:gd name="connsiteY23" fmla="*/ 1028700 h 1323975"/>
                <a:gd name="connsiteX24" fmla="*/ 349250 w 517525"/>
                <a:gd name="connsiteY24" fmla="*/ 1050925 h 1323975"/>
                <a:gd name="connsiteX25" fmla="*/ 390525 w 517525"/>
                <a:gd name="connsiteY25" fmla="*/ 1095375 h 1323975"/>
                <a:gd name="connsiteX26" fmla="*/ 412750 w 517525"/>
                <a:gd name="connsiteY26" fmla="*/ 1127125 h 1323975"/>
                <a:gd name="connsiteX27" fmla="*/ 438150 w 517525"/>
                <a:gd name="connsiteY27" fmla="*/ 1171575 h 1323975"/>
                <a:gd name="connsiteX28" fmla="*/ 444500 w 517525"/>
                <a:gd name="connsiteY28" fmla="*/ 1206500 h 1323975"/>
                <a:gd name="connsiteX29" fmla="*/ 466725 w 517525"/>
                <a:gd name="connsiteY29" fmla="*/ 1235075 h 1323975"/>
                <a:gd name="connsiteX30" fmla="*/ 473075 w 517525"/>
                <a:gd name="connsiteY30" fmla="*/ 1260475 h 1323975"/>
                <a:gd name="connsiteX31" fmla="*/ 517525 w 517525"/>
                <a:gd name="connsiteY31" fmla="*/ 1323975 h 1323975"/>
                <a:gd name="connsiteX0" fmla="*/ 22225 w 473075"/>
                <a:gd name="connsiteY0" fmla="*/ 0 h 1260475"/>
                <a:gd name="connsiteX1" fmla="*/ 0 w 473075"/>
                <a:gd name="connsiteY1" fmla="*/ 60325 h 1260475"/>
                <a:gd name="connsiteX2" fmla="*/ 41275 w 473075"/>
                <a:gd name="connsiteY2" fmla="*/ 92075 h 1260475"/>
                <a:gd name="connsiteX3" fmla="*/ 44450 w 473075"/>
                <a:gd name="connsiteY3" fmla="*/ 136525 h 1260475"/>
                <a:gd name="connsiteX4" fmla="*/ 31750 w 473075"/>
                <a:gd name="connsiteY4" fmla="*/ 165100 h 1260475"/>
                <a:gd name="connsiteX5" fmla="*/ 28575 w 473075"/>
                <a:gd name="connsiteY5" fmla="*/ 225425 h 1260475"/>
                <a:gd name="connsiteX6" fmla="*/ 41275 w 473075"/>
                <a:gd name="connsiteY6" fmla="*/ 355600 h 1260475"/>
                <a:gd name="connsiteX7" fmla="*/ 47625 w 473075"/>
                <a:gd name="connsiteY7" fmla="*/ 390525 h 1260475"/>
                <a:gd name="connsiteX8" fmla="*/ 38100 w 473075"/>
                <a:gd name="connsiteY8" fmla="*/ 428625 h 1260475"/>
                <a:gd name="connsiteX9" fmla="*/ 69850 w 473075"/>
                <a:gd name="connsiteY9" fmla="*/ 476250 h 1260475"/>
                <a:gd name="connsiteX10" fmla="*/ 92075 w 473075"/>
                <a:gd name="connsiteY10" fmla="*/ 492125 h 1260475"/>
                <a:gd name="connsiteX11" fmla="*/ 107950 w 473075"/>
                <a:gd name="connsiteY11" fmla="*/ 565150 h 1260475"/>
                <a:gd name="connsiteX12" fmla="*/ 111125 w 473075"/>
                <a:gd name="connsiteY12" fmla="*/ 593725 h 1260475"/>
                <a:gd name="connsiteX13" fmla="*/ 114300 w 473075"/>
                <a:gd name="connsiteY13" fmla="*/ 688975 h 1260475"/>
                <a:gd name="connsiteX14" fmla="*/ 133350 w 473075"/>
                <a:gd name="connsiteY14" fmla="*/ 730250 h 1260475"/>
                <a:gd name="connsiteX15" fmla="*/ 133350 w 473075"/>
                <a:gd name="connsiteY15" fmla="*/ 765175 h 1260475"/>
                <a:gd name="connsiteX16" fmla="*/ 152400 w 473075"/>
                <a:gd name="connsiteY16" fmla="*/ 825500 h 1260475"/>
                <a:gd name="connsiteX17" fmla="*/ 177800 w 473075"/>
                <a:gd name="connsiteY17" fmla="*/ 869950 h 1260475"/>
                <a:gd name="connsiteX18" fmla="*/ 203200 w 473075"/>
                <a:gd name="connsiteY18" fmla="*/ 920750 h 1260475"/>
                <a:gd name="connsiteX19" fmla="*/ 222250 w 473075"/>
                <a:gd name="connsiteY19" fmla="*/ 946150 h 1260475"/>
                <a:gd name="connsiteX20" fmla="*/ 244475 w 473075"/>
                <a:gd name="connsiteY20" fmla="*/ 952500 h 1260475"/>
                <a:gd name="connsiteX21" fmla="*/ 260350 w 473075"/>
                <a:gd name="connsiteY21" fmla="*/ 981075 h 1260475"/>
                <a:gd name="connsiteX22" fmla="*/ 279400 w 473075"/>
                <a:gd name="connsiteY22" fmla="*/ 1009650 h 1260475"/>
                <a:gd name="connsiteX23" fmla="*/ 323850 w 473075"/>
                <a:gd name="connsiteY23" fmla="*/ 1028700 h 1260475"/>
                <a:gd name="connsiteX24" fmla="*/ 349250 w 473075"/>
                <a:gd name="connsiteY24" fmla="*/ 1050925 h 1260475"/>
                <a:gd name="connsiteX25" fmla="*/ 390525 w 473075"/>
                <a:gd name="connsiteY25" fmla="*/ 1095375 h 1260475"/>
                <a:gd name="connsiteX26" fmla="*/ 412750 w 473075"/>
                <a:gd name="connsiteY26" fmla="*/ 1127125 h 1260475"/>
                <a:gd name="connsiteX27" fmla="*/ 438150 w 473075"/>
                <a:gd name="connsiteY27" fmla="*/ 1171575 h 1260475"/>
                <a:gd name="connsiteX28" fmla="*/ 444500 w 473075"/>
                <a:gd name="connsiteY28" fmla="*/ 1206500 h 1260475"/>
                <a:gd name="connsiteX29" fmla="*/ 466725 w 473075"/>
                <a:gd name="connsiteY29" fmla="*/ 1235075 h 1260475"/>
                <a:gd name="connsiteX30" fmla="*/ 473075 w 473075"/>
                <a:gd name="connsiteY30" fmla="*/ 1260475 h 1260475"/>
                <a:gd name="connsiteX0" fmla="*/ 22225 w 473075"/>
                <a:gd name="connsiteY0" fmla="*/ 0 h 1260475"/>
                <a:gd name="connsiteX1" fmla="*/ 0 w 473075"/>
                <a:gd name="connsiteY1" fmla="*/ 60325 h 1260475"/>
                <a:gd name="connsiteX2" fmla="*/ 41275 w 473075"/>
                <a:gd name="connsiteY2" fmla="*/ 92075 h 1260475"/>
                <a:gd name="connsiteX3" fmla="*/ 44450 w 473075"/>
                <a:gd name="connsiteY3" fmla="*/ 136525 h 1260475"/>
                <a:gd name="connsiteX4" fmla="*/ 31750 w 473075"/>
                <a:gd name="connsiteY4" fmla="*/ 165100 h 1260475"/>
                <a:gd name="connsiteX5" fmla="*/ 28575 w 473075"/>
                <a:gd name="connsiteY5" fmla="*/ 225425 h 1260475"/>
                <a:gd name="connsiteX6" fmla="*/ 41275 w 473075"/>
                <a:gd name="connsiteY6" fmla="*/ 355600 h 1260475"/>
                <a:gd name="connsiteX7" fmla="*/ 47625 w 473075"/>
                <a:gd name="connsiteY7" fmla="*/ 390525 h 1260475"/>
                <a:gd name="connsiteX8" fmla="*/ 38100 w 473075"/>
                <a:gd name="connsiteY8" fmla="*/ 428625 h 1260475"/>
                <a:gd name="connsiteX9" fmla="*/ 69850 w 473075"/>
                <a:gd name="connsiteY9" fmla="*/ 476250 h 1260475"/>
                <a:gd name="connsiteX10" fmla="*/ 92075 w 473075"/>
                <a:gd name="connsiteY10" fmla="*/ 492125 h 1260475"/>
                <a:gd name="connsiteX11" fmla="*/ 107950 w 473075"/>
                <a:gd name="connsiteY11" fmla="*/ 565150 h 1260475"/>
                <a:gd name="connsiteX12" fmla="*/ 111125 w 473075"/>
                <a:gd name="connsiteY12" fmla="*/ 593725 h 1260475"/>
                <a:gd name="connsiteX13" fmla="*/ 114300 w 473075"/>
                <a:gd name="connsiteY13" fmla="*/ 688975 h 1260475"/>
                <a:gd name="connsiteX14" fmla="*/ 133350 w 473075"/>
                <a:gd name="connsiteY14" fmla="*/ 730250 h 1260475"/>
                <a:gd name="connsiteX15" fmla="*/ 133350 w 473075"/>
                <a:gd name="connsiteY15" fmla="*/ 765175 h 1260475"/>
                <a:gd name="connsiteX16" fmla="*/ 152400 w 473075"/>
                <a:gd name="connsiteY16" fmla="*/ 825500 h 1260475"/>
                <a:gd name="connsiteX17" fmla="*/ 177800 w 473075"/>
                <a:gd name="connsiteY17" fmla="*/ 869950 h 1260475"/>
                <a:gd name="connsiteX18" fmla="*/ 203200 w 473075"/>
                <a:gd name="connsiteY18" fmla="*/ 920750 h 1260475"/>
                <a:gd name="connsiteX19" fmla="*/ 222250 w 473075"/>
                <a:gd name="connsiteY19" fmla="*/ 946150 h 1260475"/>
                <a:gd name="connsiteX20" fmla="*/ 244475 w 473075"/>
                <a:gd name="connsiteY20" fmla="*/ 952500 h 1260475"/>
                <a:gd name="connsiteX21" fmla="*/ 260350 w 473075"/>
                <a:gd name="connsiteY21" fmla="*/ 981075 h 1260475"/>
                <a:gd name="connsiteX22" fmla="*/ 279400 w 473075"/>
                <a:gd name="connsiteY22" fmla="*/ 1009650 h 1260475"/>
                <a:gd name="connsiteX23" fmla="*/ 323850 w 473075"/>
                <a:gd name="connsiteY23" fmla="*/ 1028700 h 1260475"/>
                <a:gd name="connsiteX24" fmla="*/ 349250 w 473075"/>
                <a:gd name="connsiteY24" fmla="*/ 1050925 h 1260475"/>
                <a:gd name="connsiteX25" fmla="*/ 390525 w 473075"/>
                <a:gd name="connsiteY25" fmla="*/ 1095375 h 1260475"/>
                <a:gd name="connsiteX26" fmla="*/ 438150 w 473075"/>
                <a:gd name="connsiteY26" fmla="*/ 1171575 h 1260475"/>
                <a:gd name="connsiteX27" fmla="*/ 444500 w 473075"/>
                <a:gd name="connsiteY27" fmla="*/ 1206500 h 1260475"/>
                <a:gd name="connsiteX28" fmla="*/ 466725 w 473075"/>
                <a:gd name="connsiteY28" fmla="*/ 1235075 h 1260475"/>
                <a:gd name="connsiteX29" fmla="*/ 473075 w 473075"/>
                <a:gd name="connsiteY29" fmla="*/ 1260475 h 1260475"/>
                <a:gd name="connsiteX0" fmla="*/ 22225 w 473075"/>
                <a:gd name="connsiteY0" fmla="*/ 0 h 1260475"/>
                <a:gd name="connsiteX1" fmla="*/ 0 w 473075"/>
                <a:gd name="connsiteY1" fmla="*/ 60325 h 1260475"/>
                <a:gd name="connsiteX2" fmla="*/ 41275 w 473075"/>
                <a:gd name="connsiteY2" fmla="*/ 92075 h 1260475"/>
                <a:gd name="connsiteX3" fmla="*/ 44450 w 473075"/>
                <a:gd name="connsiteY3" fmla="*/ 136525 h 1260475"/>
                <a:gd name="connsiteX4" fmla="*/ 31750 w 473075"/>
                <a:gd name="connsiteY4" fmla="*/ 165100 h 1260475"/>
                <a:gd name="connsiteX5" fmla="*/ 28575 w 473075"/>
                <a:gd name="connsiteY5" fmla="*/ 225425 h 1260475"/>
                <a:gd name="connsiteX6" fmla="*/ 41275 w 473075"/>
                <a:gd name="connsiteY6" fmla="*/ 355600 h 1260475"/>
                <a:gd name="connsiteX7" fmla="*/ 47625 w 473075"/>
                <a:gd name="connsiteY7" fmla="*/ 390525 h 1260475"/>
                <a:gd name="connsiteX8" fmla="*/ 38100 w 473075"/>
                <a:gd name="connsiteY8" fmla="*/ 428625 h 1260475"/>
                <a:gd name="connsiteX9" fmla="*/ 69850 w 473075"/>
                <a:gd name="connsiteY9" fmla="*/ 476250 h 1260475"/>
                <a:gd name="connsiteX10" fmla="*/ 92075 w 473075"/>
                <a:gd name="connsiteY10" fmla="*/ 492125 h 1260475"/>
                <a:gd name="connsiteX11" fmla="*/ 107950 w 473075"/>
                <a:gd name="connsiteY11" fmla="*/ 565150 h 1260475"/>
                <a:gd name="connsiteX12" fmla="*/ 111125 w 473075"/>
                <a:gd name="connsiteY12" fmla="*/ 593725 h 1260475"/>
                <a:gd name="connsiteX13" fmla="*/ 114300 w 473075"/>
                <a:gd name="connsiteY13" fmla="*/ 688975 h 1260475"/>
                <a:gd name="connsiteX14" fmla="*/ 133350 w 473075"/>
                <a:gd name="connsiteY14" fmla="*/ 730250 h 1260475"/>
                <a:gd name="connsiteX15" fmla="*/ 133350 w 473075"/>
                <a:gd name="connsiteY15" fmla="*/ 765175 h 1260475"/>
                <a:gd name="connsiteX16" fmla="*/ 152400 w 473075"/>
                <a:gd name="connsiteY16" fmla="*/ 825500 h 1260475"/>
                <a:gd name="connsiteX17" fmla="*/ 177800 w 473075"/>
                <a:gd name="connsiteY17" fmla="*/ 869950 h 1260475"/>
                <a:gd name="connsiteX18" fmla="*/ 203200 w 473075"/>
                <a:gd name="connsiteY18" fmla="*/ 920750 h 1260475"/>
                <a:gd name="connsiteX19" fmla="*/ 222250 w 473075"/>
                <a:gd name="connsiteY19" fmla="*/ 946150 h 1260475"/>
                <a:gd name="connsiteX20" fmla="*/ 244475 w 473075"/>
                <a:gd name="connsiteY20" fmla="*/ 952500 h 1260475"/>
                <a:gd name="connsiteX21" fmla="*/ 260350 w 473075"/>
                <a:gd name="connsiteY21" fmla="*/ 981075 h 1260475"/>
                <a:gd name="connsiteX22" fmla="*/ 279400 w 473075"/>
                <a:gd name="connsiteY22" fmla="*/ 1009650 h 1260475"/>
                <a:gd name="connsiteX23" fmla="*/ 323850 w 473075"/>
                <a:gd name="connsiteY23" fmla="*/ 1028700 h 1260475"/>
                <a:gd name="connsiteX24" fmla="*/ 349250 w 473075"/>
                <a:gd name="connsiteY24" fmla="*/ 1050925 h 1260475"/>
                <a:gd name="connsiteX25" fmla="*/ 390525 w 473075"/>
                <a:gd name="connsiteY25" fmla="*/ 1095375 h 1260475"/>
                <a:gd name="connsiteX26" fmla="*/ 444500 w 473075"/>
                <a:gd name="connsiteY26" fmla="*/ 1206500 h 1260475"/>
                <a:gd name="connsiteX27" fmla="*/ 466725 w 473075"/>
                <a:gd name="connsiteY27" fmla="*/ 1235075 h 1260475"/>
                <a:gd name="connsiteX28" fmla="*/ 473075 w 473075"/>
                <a:gd name="connsiteY28" fmla="*/ 1260475 h 1260475"/>
                <a:gd name="connsiteX0" fmla="*/ 22225 w 473075"/>
                <a:gd name="connsiteY0" fmla="*/ 0 h 1260475"/>
                <a:gd name="connsiteX1" fmla="*/ 0 w 473075"/>
                <a:gd name="connsiteY1" fmla="*/ 60325 h 1260475"/>
                <a:gd name="connsiteX2" fmla="*/ 41275 w 473075"/>
                <a:gd name="connsiteY2" fmla="*/ 92075 h 1260475"/>
                <a:gd name="connsiteX3" fmla="*/ 44450 w 473075"/>
                <a:gd name="connsiteY3" fmla="*/ 136525 h 1260475"/>
                <a:gd name="connsiteX4" fmla="*/ 31750 w 473075"/>
                <a:gd name="connsiteY4" fmla="*/ 165100 h 1260475"/>
                <a:gd name="connsiteX5" fmla="*/ 28575 w 473075"/>
                <a:gd name="connsiteY5" fmla="*/ 225425 h 1260475"/>
                <a:gd name="connsiteX6" fmla="*/ 41275 w 473075"/>
                <a:gd name="connsiteY6" fmla="*/ 355600 h 1260475"/>
                <a:gd name="connsiteX7" fmla="*/ 47625 w 473075"/>
                <a:gd name="connsiteY7" fmla="*/ 390525 h 1260475"/>
                <a:gd name="connsiteX8" fmla="*/ 38100 w 473075"/>
                <a:gd name="connsiteY8" fmla="*/ 428625 h 1260475"/>
                <a:gd name="connsiteX9" fmla="*/ 69850 w 473075"/>
                <a:gd name="connsiteY9" fmla="*/ 476250 h 1260475"/>
                <a:gd name="connsiteX10" fmla="*/ 92075 w 473075"/>
                <a:gd name="connsiteY10" fmla="*/ 492125 h 1260475"/>
                <a:gd name="connsiteX11" fmla="*/ 107950 w 473075"/>
                <a:gd name="connsiteY11" fmla="*/ 565150 h 1260475"/>
                <a:gd name="connsiteX12" fmla="*/ 111125 w 473075"/>
                <a:gd name="connsiteY12" fmla="*/ 593725 h 1260475"/>
                <a:gd name="connsiteX13" fmla="*/ 114300 w 473075"/>
                <a:gd name="connsiteY13" fmla="*/ 688975 h 1260475"/>
                <a:gd name="connsiteX14" fmla="*/ 133350 w 473075"/>
                <a:gd name="connsiteY14" fmla="*/ 730250 h 1260475"/>
                <a:gd name="connsiteX15" fmla="*/ 133350 w 473075"/>
                <a:gd name="connsiteY15" fmla="*/ 765175 h 1260475"/>
                <a:gd name="connsiteX16" fmla="*/ 152400 w 473075"/>
                <a:gd name="connsiteY16" fmla="*/ 825500 h 1260475"/>
                <a:gd name="connsiteX17" fmla="*/ 177800 w 473075"/>
                <a:gd name="connsiteY17" fmla="*/ 869950 h 1260475"/>
                <a:gd name="connsiteX18" fmla="*/ 203200 w 473075"/>
                <a:gd name="connsiteY18" fmla="*/ 920750 h 1260475"/>
                <a:gd name="connsiteX19" fmla="*/ 222250 w 473075"/>
                <a:gd name="connsiteY19" fmla="*/ 946150 h 1260475"/>
                <a:gd name="connsiteX20" fmla="*/ 244475 w 473075"/>
                <a:gd name="connsiteY20" fmla="*/ 952500 h 1260475"/>
                <a:gd name="connsiteX21" fmla="*/ 260350 w 473075"/>
                <a:gd name="connsiteY21" fmla="*/ 981075 h 1260475"/>
                <a:gd name="connsiteX22" fmla="*/ 279400 w 473075"/>
                <a:gd name="connsiteY22" fmla="*/ 1009650 h 1260475"/>
                <a:gd name="connsiteX23" fmla="*/ 323850 w 473075"/>
                <a:gd name="connsiteY23" fmla="*/ 1028700 h 1260475"/>
                <a:gd name="connsiteX24" fmla="*/ 349250 w 473075"/>
                <a:gd name="connsiteY24" fmla="*/ 1050925 h 1260475"/>
                <a:gd name="connsiteX25" fmla="*/ 390525 w 473075"/>
                <a:gd name="connsiteY25" fmla="*/ 1095375 h 1260475"/>
                <a:gd name="connsiteX26" fmla="*/ 466725 w 473075"/>
                <a:gd name="connsiteY26" fmla="*/ 1235075 h 1260475"/>
                <a:gd name="connsiteX27" fmla="*/ 473075 w 473075"/>
                <a:gd name="connsiteY27" fmla="*/ 1260475 h 1260475"/>
                <a:gd name="connsiteX0" fmla="*/ 22225 w 466725"/>
                <a:gd name="connsiteY0" fmla="*/ 0 h 1235075"/>
                <a:gd name="connsiteX1" fmla="*/ 0 w 466725"/>
                <a:gd name="connsiteY1" fmla="*/ 60325 h 1235075"/>
                <a:gd name="connsiteX2" fmla="*/ 41275 w 466725"/>
                <a:gd name="connsiteY2" fmla="*/ 92075 h 1235075"/>
                <a:gd name="connsiteX3" fmla="*/ 44450 w 466725"/>
                <a:gd name="connsiteY3" fmla="*/ 136525 h 1235075"/>
                <a:gd name="connsiteX4" fmla="*/ 31750 w 466725"/>
                <a:gd name="connsiteY4" fmla="*/ 165100 h 1235075"/>
                <a:gd name="connsiteX5" fmla="*/ 28575 w 466725"/>
                <a:gd name="connsiteY5" fmla="*/ 225425 h 1235075"/>
                <a:gd name="connsiteX6" fmla="*/ 41275 w 466725"/>
                <a:gd name="connsiteY6" fmla="*/ 355600 h 1235075"/>
                <a:gd name="connsiteX7" fmla="*/ 47625 w 466725"/>
                <a:gd name="connsiteY7" fmla="*/ 390525 h 1235075"/>
                <a:gd name="connsiteX8" fmla="*/ 38100 w 466725"/>
                <a:gd name="connsiteY8" fmla="*/ 428625 h 1235075"/>
                <a:gd name="connsiteX9" fmla="*/ 69850 w 466725"/>
                <a:gd name="connsiteY9" fmla="*/ 476250 h 1235075"/>
                <a:gd name="connsiteX10" fmla="*/ 92075 w 466725"/>
                <a:gd name="connsiteY10" fmla="*/ 492125 h 1235075"/>
                <a:gd name="connsiteX11" fmla="*/ 107950 w 466725"/>
                <a:gd name="connsiteY11" fmla="*/ 565150 h 1235075"/>
                <a:gd name="connsiteX12" fmla="*/ 111125 w 466725"/>
                <a:gd name="connsiteY12" fmla="*/ 593725 h 1235075"/>
                <a:gd name="connsiteX13" fmla="*/ 114300 w 466725"/>
                <a:gd name="connsiteY13" fmla="*/ 688975 h 1235075"/>
                <a:gd name="connsiteX14" fmla="*/ 133350 w 466725"/>
                <a:gd name="connsiteY14" fmla="*/ 730250 h 1235075"/>
                <a:gd name="connsiteX15" fmla="*/ 133350 w 466725"/>
                <a:gd name="connsiteY15" fmla="*/ 765175 h 1235075"/>
                <a:gd name="connsiteX16" fmla="*/ 152400 w 466725"/>
                <a:gd name="connsiteY16" fmla="*/ 825500 h 1235075"/>
                <a:gd name="connsiteX17" fmla="*/ 177800 w 466725"/>
                <a:gd name="connsiteY17" fmla="*/ 869950 h 1235075"/>
                <a:gd name="connsiteX18" fmla="*/ 203200 w 466725"/>
                <a:gd name="connsiteY18" fmla="*/ 920750 h 1235075"/>
                <a:gd name="connsiteX19" fmla="*/ 222250 w 466725"/>
                <a:gd name="connsiteY19" fmla="*/ 946150 h 1235075"/>
                <a:gd name="connsiteX20" fmla="*/ 244475 w 466725"/>
                <a:gd name="connsiteY20" fmla="*/ 952500 h 1235075"/>
                <a:gd name="connsiteX21" fmla="*/ 260350 w 466725"/>
                <a:gd name="connsiteY21" fmla="*/ 981075 h 1235075"/>
                <a:gd name="connsiteX22" fmla="*/ 279400 w 466725"/>
                <a:gd name="connsiteY22" fmla="*/ 1009650 h 1235075"/>
                <a:gd name="connsiteX23" fmla="*/ 323850 w 466725"/>
                <a:gd name="connsiteY23" fmla="*/ 1028700 h 1235075"/>
                <a:gd name="connsiteX24" fmla="*/ 349250 w 466725"/>
                <a:gd name="connsiteY24" fmla="*/ 1050925 h 1235075"/>
                <a:gd name="connsiteX25" fmla="*/ 390525 w 466725"/>
                <a:gd name="connsiteY25" fmla="*/ 1095375 h 1235075"/>
                <a:gd name="connsiteX26" fmla="*/ 466725 w 466725"/>
                <a:gd name="connsiteY26" fmla="*/ 1235075 h 1235075"/>
                <a:gd name="connsiteX0" fmla="*/ 22225 w 390525"/>
                <a:gd name="connsiteY0" fmla="*/ 0 h 1095375"/>
                <a:gd name="connsiteX1" fmla="*/ 0 w 390525"/>
                <a:gd name="connsiteY1" fmla="*/ 60325 h 1095375"/>
                <a:gd name="connsiteX2" fmla="*/ 41275 w 390525"/>
                <a:gd name="connsiteY2" fmla="*/ 92075 h 1095375"/>
                <a:gd name="connsiteX3" fmla="*/ 44450 w 390525"/>
                <a:gd name="connsiteY3" fmla="*/ 136525 h 1095375"/>
                <a:gd name="connsiteX4" fmla="*/ 31750 w 390525"/>
                <a:gd name="connsiteY4" fmla="*/ 165100 h 1095375"/>
                <a:gd name="connsiteX5" fmla="*/ 28575 w 390525"/>
                <a:gd name="connsiteY5" fmla="*/ 225425 h 1095375"/>
                <a:gd name="connsiteX6" fmla="*/ 41275 w 390525"/>
                <a:gd name="connsiteY6" fmla="*/ 355600 h 1095375"/>
                <a:gd name="connsiteX7" fmla="*/ 47625 w 390525"/>
                <a:gd name="connsiteY7" fmla="*/ 390525 h 1095375"/>
                <a:gd name="connsiteX8" fmla="*/ 38100 w 390525"/>
                <a:gd name="connsiteY8" fmla="*/ 428625 h 1095375"/>
                <a:gd name="connsiteX9" fmla="*/ 69850 w 390525"/>
                <a:gd name="connsiteY9" fmla="*/ 476250 h 1095375"/>
                <a:gd name="connsiteX10" fmla="*/ 92075 w 390525"/>
                <a:gd name="connsiteY10" fmla="*/ 492125 h 1095375"/>
                <a:gd name="connsiteX11" fmla="*/ 107950 w 390525"/>
                <a:gd name="connsiteY11" fmla="*/ 565150 h 1095375"/>
                <a:gd name="connsiteX12" fmla="*/ 111125 w 390525"/>
                <a:gd name="connsiteY12" fmla="*/ 593725 h 1095375"/>
                <a:gd name="connsiteX13" fmla="*/ 114300 w 390525"/>
                <a:gd name="connsiteY13" fmla="*/ 688975 h 1095375"/>
                <a:gd name="connsiteX14" fmla="*/ 133350 w 390525"/>
                <a:gd name="connsiteY14" fmla="*/ 730250 h 1095375"/>
                <a:gd name="connsiteX15" fmla="*/ 133350 w 390525"/>
                <a:gd name="connsiteY15" fmla="*/ 765175 h 1095375"/>
                <a:gd name="connsiteX16" fmla="*/ 152400 w 390525"/>
                <a:gd name="connsiteY16" fmla="*/ 825500 h 1095375"/>
                <a:gd name="connsiteX17" fmla="*/ 177800 w 390525"/>
                <a:gd name="connsiteY17" fmla="*/ 869950 h 1095375"/>
                <a:gd name="connsiteX18" fmla="*/ 203200 w 390525"/>
                <a:gd name="connsiteY18" fmla="*/ 920750 h 1095375"/>
                <a:gd name="connsiteX19" fmla="*/ 222250 w 390525"/>
                <a:gd name="connsiteY19" fmla="*/ 946150 h 1095375"/>
                <a:gd name="connsiteX20" fmla="*/ 244475 w 390525"/>
                <a:gd name="connsiteY20" fmla="*/ 952500 h 1095375"/>
                <a:gd name="connsiteX21" fmla="*/ 260350 w 390525"/>
                <a:gd name="connsiteY21" fmla="*/ 981075 h 1095375"/>
                <a:gd name="connsiteX22" fmla="*/ 279400 w 390525"/>
                <a:gd name="connsiteY22" fmla="*/ 1009650 h 1095375"/>
                <a:gd name="connsiteX23" fmla="*/ 323850 w 390525"/>
                <a:gd name="connsiteY23" fmla="*/ 1028700 h 1095375"/>
                <a:gd name="connsiteX24" fmla="*/ 349250 w 390525"/>
                <a:gd name="connsiteY24" fmla="*/ 1050925 h 1095375"/>
                <a:gd name="connsiteX25" fmla="*/ 390525 w 390525"/>
                <a:gd name="connsiteY25" fmla="*/ 1095375 h 1095375"/>
                <a:gd name="connsiteX0" fmla="*/ 22225 w 349250"/>
                <a:gd name="connsiteY0" fmla="*/ 0 h 1050925"/>
                <a:gd name="connsiteX1" fmla="*/ 0 w 349250"/>
                <a:gd name="connsiteY1" fmla="*/ 60325 h 1050925"/>
                <a:gd name="connsiteX2" fmla="*/ 41275 w 349250"/>
                <a:gd name="connsiteY2" fmla="*/ 92075 h 1050925"/>
                <a:gd name="connsiteX3" fmla="*/ 44450 w 349250"/>
                <a:gd name="connsiteY3" fmla="*/ 136525 h 1050925"/>
                <a:gd name="connsiteX4" fmla="*/ 31750 w 349250"/>
                <a:gd name="connsiteY4" fmla="*/ 165100 h 1050925"/>
                <a:gd name="connsiteX5" fmla="*/ 28575 w 349250"/>
                <a:gd name="connsiteY5" fmla="*/ 225425 h 1050925"/>
                <a:gd name="connsiteX6" fmla="*/ 41275 w 349250"/>
                <a:gd name="connsiteY6" fmla="*/ 355600 h 1050925"/>
                <a:gd name="connsiteX7" fmla="*/ 47625 w 349250"/>
                <a:gd name="connsiteY7" fmla="*/ 390525 h 1050925"/>
                <a:gd name="connsiteX8" fmla="*/ 38100 w 349250"/>
                <a:gd name="connsiteY8" fmla="*/ 428625 h 1050925"/>
                <a:gd name="connsiteX9" fmla="*/ 69850 w 349250"/>
                <a:gd name="connsiteY9" fmla="*/ 476250 h 1050925"/>
                <a:gd name="connsiteX10" fmla="*/ 92075 w 349250"/>
                <a:gd name="connsiteY10" fmla="*/ 492125 h 1050925"/>
                <a:gd name="connsiteX11" fmla="*/ 107950 w 349250"/>
                <a:gd name="connsiteY11" fmla="*/ 565150 h 1050925"/>
                <a:gd name="connsiteX12" fmla="*/ 111125 w 349250"/>
                <a:gd name="connsiteY12" fmla="*/ 593725 h 1050925"/>
                <a:gd name="connsiteX13" fmla="*/ 114300 w 349250"/>
                <a:gd name="connsiteY13" fmla="*/ 688975 h 1050925"/>
                <a:gd name="connsiteX14" fmla="*/ 133350 w 349250"/>
                <a:gd name="connsiteY14" fmla="*/ 730250 h 1050925"/>
                <a:gd name="connsiteX15" fmla="*/ 133350 w 349250"/>
                <a:gd name="connsiteY15" fmla="*/ 765175 h 1050925"/>
                <a:gd name="connsiteX16" fmla="*/ 152400 w 349250"/>
                <a:gd name="connsiteY16" fmla="*/ 825500 h 1050925"/>
                <a:gd name="connsiteX17" fmla="*/ 177800 w 349250"/>
                <a:gd name="connsiteY17" fmla="*/ 869950 h 1050925"/>
                <a:gd name="connsiteX18" fmla="*/ 203200 w 349250"/>
                <a:gd name="connsiteY18" fmla="*/ 920750 h 1050925"/>
                <a:gd name="connsiteX19" fmla="*/ 222250 w 349250"/>
                <a:gd name="connsiteY19" fmla="*/ 946150 h 1050925"/>
                <a:gd name="connsiteX20" fmla="*/ 244475 w 349250"/>
                <a:gd name="connsiteY20" fmla="*/ 952500 h 1050925"/>
                <a:gd name="connsiteX21" fmla="*/ 260350 w 349250"/>
                <a:gd name="connsiteY21" fmla="*/ 981075 h 1050925"/>
                <a:gd name="connsiteX22" fmla="*/ 279400 w 349250"/>
                <a:gd name="connsiteY22" fmla="*/ 1009650 h 1050925"/>
                <a:gd name="connsiteX23" fmla="*/ 323850 w 349250"/>
                <a:gd name="connsiteY23" fmla="*/ 1028700 h 1050925"/>
                <a:gd name="connsiteX24" fmla="*/ 349250 w 349250"/>
                <a:gd name="connsiteY24" fmla="*/ 1050925 h 1050925"/>
                <a:gd name="connsiteX0" fmla="*/ 22225 w 349250"/>
                <a:gd name="connsiteY0" fmla="*/ 0 h 1050925"/>
                <a:gd name="connsiteX1" fmla="*/ 0 w 349250"/>
                <a:gd name="connsiteY1" fmla="*/ 60325 h 1050925"/>
                <a:gd name="connsiteX2" fmla="*/ 41275 w 349250"/>
                <a:gd name="connsiteY2" fmla="*/ 92075 h 1050925"/>
                <a:gd name="connsiteX3" fmla="*/ 44450 w 349250"/>
                <a:gd name="connsiteY3" fmla="*/ 136525 h 1050925"/>
                <a:gd name="connsiteX4" fmla="*/ 31750 w 349250"/>
                <a:gd name="connsiteY4" fmla="*/ 165100 h 1050925"/>
                <a:gd name="connsiteX5" fmla="*/ 28575 w 349250"/>
                <a:gd name="connsiteY5" fmla="*/ 225425 h 1050925"/>
                <a:gd name="connsiteX6" fmla="*/ 41275 w 349250"/>
                <a:gd name="connsiteY6" fmla="*/ 355600 h 1050925"/>
                <a:gd name="connsiteX7" fmla="*/ 47625 w 349250"/>
                <a:gd name="connsiteY7" fmla="*/ 390525 h 1050925"/>
                <a:gd name="connsiteX8" fmla="*/ 38100 w 349250"/>
                <a:gd name="connsiteY8" fmla="*/ 428625 h 1050925"/>
                <a:gd name="connsiteX9" fmla="*/ 69850 w 349250"/>
                <a:gd name="connsiteY9" fmla="*/ 476250 h 1050925"/>
                <a:gd name="connsiteX10" fmla="*/ 92075 w 349250"/>
                <a:gd name="connsiteY10" fmla="*/ 492125 h 1050925"/>
                <a:gd name="connsiteX11" fmla="*/ 107950 w 349250"/>
                <a:gd name="connsiteY11" fmla="*/ 565150 h 1050925"/>
                <a:gd name="connsiteX12" fmla="*/ 111125 w 349250"/>
                <a:gd name="connsiteY12" fmla="*/ 593725 h 1050925"/>
                <a:gd name="connsiteX13" fmla="*/ 114300 w 349250"/>
                <a:gd name="connsiteY13" fmla="*/ 688975 h 1050925"/>
                <a:gd name="connsiteX14" fmla="*/ 133350 w 349250"/>
                <a:gd name="connsiteY14" fmla="*/ 730250 h 1050925"/>
                <a:gd name="connsiteX15" fmla="*/ 133350 w 349250"/>
                <a:gd name="connsiteY15" fmla="*/ 765175 h 1050925"/>
                <a:gd name="connsiteX16" fmla="*/ 152400 w 349250"/>
                <a:gd name="connsiteY16" fmla="*/ 825500 h 1050925"/>
                <a:gd name="connsiteX17" fmla="*/ 177800 w 349250"/>
                <a:gd name="connsiteY17" fmla="*/ 869950 h 1050925"/>
                <a:gd name="connsiteX18" fmla="*/ 203200 w 349250"/>
                <a:gd name="connsiteY18" fmla="*/ 920750 h 1050925"/>
                <a:gd name="connsiteX19" fmla="*/ 222250 w 349250"/>
                <a:gd name="connsiteY19" fmla="*/ 946150 h 1050925"/>
                <a:gd name="connsiteX20" fmla="*/ 244475 w 349250"/>
                <a:gd name="connsiteY20" fmla="*/ 952500 h 1050925"/>
                <a:gd name="connsiteX21" fmla="*/ 260350 w 349250"/>
                <a:gd name="connsiteY21" fmla="*/ 981075 h 1050925"/>
                <a:gd name="connsiteX22" fmla="*/ 279400 w 349250"/>
                <a:gd name="connsiteY22" fmla="*/ 1009650 h 1050925"/>
                <a:gd name="connsiteX23" fmla="*/ 349250 w 349250"/>
                <a:gd name="connsiteY23" fmla="*/ 1050925 h 1050925"/>
                <a:gd name="connsiteX0" fmla="*/ 22225 w 279400"/>
                <a:gd name="connsiteY0" fmla="*/ 0 h 1009650"/>
                <a:gd name="connsiteX1" fmla="*/ 0 w 279400"/>
                <a:gd name="connsiteY1" fmla="*/ 60325 h 1009650"/>
                <a:gd name="connsiteX2" fmla="*/ 41275 w 279400"/>
                <a:gd name="connsiteY2" fmla="*/ 92075 h 1009650"/>
                <a:gd name="connsiteX3" fmla="*/ 44450 w 279400"/>
                <a:gd name="connsiteY3" fmla="*/ 136525 h 1009650"/>
                <a:gd name="connsiteX4" fmla="*/ 31750 w 279400"/>
                <a:gd name="connsiteY4" fmla="*/ 165100 h 1009650"/>
                <a:gd name="connsiteX5" fmla="*/ 28575 w 279400"/>
                <a:gd name="connsiteY5" fmla="*/ 225425 h 1009650"/>
                <a:gd name="connsiteX6" fmla="*/ 41275 w 279400"/>
                <a:gd name="connsiteY6" fmla="*/ 355600 h 1009650"/>
                <a:gd name="connsiteX7" fmla="*/ 47625 w 279400"/>
                <a:gd name="connsiteY7" fmla="*/ 390525 h 1009650"/>
                <a:gd name="connsiteX8" fmla="*/ 38100 w 279400"/>
                <a:gd name="connsiteY8" fmla="*/ 428625 h 1009650"/>
                <a:gd name="connsiteX9" fmla="*/ 69850 w 279400"/>
                <a:gd name="connsiteY9" fmla="*/ 476250 h 1009650"/>
                <a:gd name="connsiteX10" fmla="*/ 92075 w 279400"/>
                <a:gd name="connsiteY10" fmla="*/ 492125 h 1009650"/>
                <a:gd name="connsiteX11" fmla="*/ 107950 w 279400"/>
                <a:gd name="connsiteY11" fmla="*/ 565150 h 1009650"/>
                <a:gd name="connsiteX12" fmla="*/ 111125 w 279400"/>
                <a:gd name="connsiteY12" fmla="*/ 593725 h 1009650"/>
                <a:gd name="connsiteX13" fmla="*/ 114300 w 279400"/>
                <a:gd name="connsiteY13" fmla="*/ 688975 h 1009650"/>
                <a:gd name="connsiteX14" fmla="*/ 133350 w 279400"/>
                <a:gd name="connsiteY14" fmla="*/ 730250 h 1009650"/>
                <a:gd name="connsiteX15" fmla="*/ 133350 w 279400"/>
                <a:gd name="connsiteY15" fmla="*/ 765175 h 1009650"/>
                <a:gd name="connsiteX16" fmla="*/ 152400 w 279400"/>
                <a:gd name="connsiteY16" fmla="*/ 825500 h 1009650"/>
                <a:gd name="connsiteX17" fmla="*/ 177800 w 279400"/>
                <a:gd name="connsiteY17" fmla="*/ 869950 h 1009650"/>
                <a:gd name="connsiteX18" fmla="*/ 203200 w 279400"/>
                <a:gd name="connsiteY18" fmla="*/ 920750 h 1009650"/>
                <a:gd name="connsiteX19" fmla="*/ 222250 w 279400"/>
                <a:gd name="connsiteY19" fmla="*/ 946150 h 1009650"/>
                <a:gd name="connsiteX20" fmla="*/ 244475 w 279400"/>
                <a:gd name="connsiteY20" fmla="*/ 952500 h 1009650"/>
                <a:gd name="connsiteX21" fmla="*/ 260350 w 279400"/>
                <a:gd name="connsiteY21" fmla="*/ 981075 h 1009650"/>
                <a:gd name="connsiteX22" fmla="*/ 279400 w 279400"/>
                <a:gd name="connsiteY22" fmla="*/ 1009650 h 1009650"/>
                <a:gd name="connsiteX0" fmla="*/ 22225 w 279400"/>
                <a:gd name="connsiteY0" fmla="*/ 0 h 1009650"/>
                <a:gd name="connsiteX1" fmla="*/ 0 w 279400"/>
                <a:gd name="connsiteY1" fmla="*/ 60325 h 1009650"/>
                <a:gd name="connsiteX2" fmla="*/ 41275 w 279400"/>
                <a:gd name="connsiteY2" fmla="*/ 92075 h 1009650"/>
                <a:gd name="connsiteX3" fmla="*/ 44450 w 279400"/>
                <a:gd name="connsiteY3" fmla="*/ 136525 h 1009650"/>
                <a:gd name="connsiteX4" fmla="*/ 31750 w 279400"/>
                <a:gd name="connsiteY4" fmla="*/ 165100 h 1009650"/>
                <a:gd name="connsiteX5" fmla="*/ 28575 w 279400"/>
                <a:gd name="connsiteY5" fmla="*/ 225425 h 1009650"/>
                <a:gd name="connsiteX6" fmla="*/ 41275 w 279400"/>
                <a:gd name="connsiteY6" fmla="*/ 355600 h 1009650"/>
                <a:gd name="connsiteX7" fmla="*/ 47625 w 279400"/>
                <a:gd name="connsiteY7" fmla="*/ 390525 h 1009650"/>
                <a:gd name="connsiteX8" fmla="*/ 38100 w 279400"/>
                <a:gd name="connsiteY8" fmla="*/ 428625 h 1009650"/>
                <a:gd name="connsiteX9" fmla="*/ 69850 w 279400"/>
                <a:gd name="connsiteY9" fmla="*/ 476250 h 1009650"/>
                <a:gd name="connsiteX10" fmla="*/ 92075 w 279400"/>
                <a:gd name="connsiteY10" fmla="*/ 492125 h 1009650"/>
                <a:gd name="connsiteX11" fmla="*/ 107950 w 279400"/>
                <a:gd name="connsiteY11" fmla="*/ 565150 h 1009650"/>
                <a:gd name="connsiteX12" fmla="*/ 111125 w 279400"/>
                <a:gd name="connsiteY12" fmla="*/ 593725 h 1009650"/>
                <a:gd name="connsiteX13" fmla="*/ 114300 w 279400"/>
                <a:gd name="connsiteY13" fmla="*/ 688975 h 1009650"/>
                <a:gd name="connsiteX14" fmla="*/ 133350 w 279400"/>
                <a:gd name="connsiteY14" fmla="*/ 730250 h 1009650"/>
                <a:gd name="connsiteX15" fmla="*/ 133350 w 279400"/>
                <a:gd name="connsiteY15" fmla="*/ 765175 h 1009650"/>
                <a:gd name="connsiteX16" fmla="*/ 152400 w 279400"/>
                <a:gd name="connsiteY16" fmla="*/ 825500 h 1009650"/>
                <a:gd name="connsiteX17" fmla="*/ 177800 w 279400"/>
                <a:gd name="connsiteY17" fmla="*/ 869950 h 1009650"/>
                <a:gd name="connsiteX18" fmla="*/ 203200 w 279400"/>
                <a:gd name="connsiteY18" fmla="*/ 920750 h 1009650"/>
                <a:gd name="connsiteX19" fmla="*/ 222250 w 279400"/>
                <a:gd name="connsiteY19" fmla="*/ 946150 h 1009650"/>
                <a:gd name="connsiteX20" fmla="*/ 244475 w 279400"/>
                <a:gd name="connsiteY20" fmla="*/ 952500 h 1009650"/>
                <a:gd name="connsiteX21" fmla="*/ 279400 w 279400"/>
                <a:gd name="connsiteY21" fmla="*/ 1009650 h 1009650"/>
                <a:gd name="connsiteX0" fmla="*/ 22225 w 279400"/>
                <a:gd name="connsiteY0" fmla="*/ 0 h 1009650"/>
                <a:gd name="connsiteX1" fmla="*/ 0 w 279400"/>
                <a:gd name="connsiteY1" fmla="*/ 60325 h 1009650"/>
                <a:gd name="connsiteX2" fmla="*/ 41275 w 279400"/>
                <a:gd name="connsiteY2" fmla="*/ 92075 h 1009650"/>
                <a:gd name="connsiteX3" fmla="*/ 44450 w 279400"/>
                <a:gd name="connsiteY3" fmla="*/ 136525 h 1009650"/>
                <a:gd name="connsiteX4" fmla="*/ 31750 w 279400"/>
                <a:gd name="connsiteY4" fmla="*/ 165100 h 1009650"/>
                <a:gd name="connsiteX5" fmla="*/ 28575 w 279400"/>
                <a:gd name="connsiteY5" fmla="*/ 225425 h 1009650"/>
                <a:gd name="connsiteX6" fmla="*/ 41275 w 279400"/>
                <a:gd name="connsiteY6" fmla="*/ 355600 h 1009650"/>
                <a:gd name="connsiteX7" fmla="*/ 47625 w 279400"/>
                <a:gd name="connsiteY7" fmla="*/ 390525 h 1009650"/>
                <a:gd name="connsiteX8" fmla="*/ 38100 w 279400"/>
                <a:gd name="connsiteY8" fmla="*/ 428625 h 1009650"/>
                <a:gd name="connsiteX9" fmla="*/ 69850 w 279400"/>
                <a:gd name="connsiteY9" fmla="*/ 476250 h 1009650"/>
                <a:gd name="connsiteX10" fmla="*/ 92075 w 279400"/>
                <a:gd name="connsiteY10" fmla="*/ 492125 h 1009650"/>
                <a:gd name="connsiteX11" fmla="*/ 107950 w 279400"/>
                <a:gd name="connsiteY11" fmla="*/ 565150 h 1009650"/>
                <a:gd name="connsiteX12" fmla="*/ 111125 w 279400"/>
                <a:gd name="connsiteY12" fmla="*/ 593725 h 1009650"/>
                <a:gd name="connsiteX13" fmla="*/ 114300 w 279400"/>
                <a:gd name="connsiteY13" fmla="*/ 688975 h 1009650"/>
                <a:gd name="connsiteX14" fmla="*/ 133350 w 279400"/>
                <a:gd name="connsiteY14" fmla="*/ 730250 h 1009650"/>
                <a:gd name="connsiteX15" fmla="*/ 133350 w 279400"/>
                <a:gd name="connsiteY15" fmla="*/ 765175 h 1009650"/>
                <a:gd name="connsiteX16" fmla="*/ 152400 w 279400"/>
                <a:gd name="connsiteY16" fmla="*/ 825500 h 1009650"/>
                <a:gd name="connsiteX17" fmla="*/ 177800 w 279400"/>
                <a:gd name="connsiteY17" fmla="*/ 869950 h 1009650"/>
                <a:gd name="connsiteX18" fmla="*/ 203200 w 279400"/>
                <a:gd name="connsiteY18" fmla="*/ 920750 h 1009650"/>
                <a:gd name="connsiteX19" fmla="*/ 222250 w 279400"/>
                <a:gd name="connsiteY19" fmla="*/ 946150 h 1009650"/>
                <a:gd name="connsiteX20" fmla="*/ 279400 w 279400"/>
                <a:gd name="connsiteY20" fmla="*/ 1009650 h 1009650"/>
                <a:gd name="connsiteX0" fmla="*/ 22225 w 222250"/>
                <a:gd name="connsiteY0" fmla="*/ 0 h 946150"/>
                <a:gd name="connsiteX1" fmla="*/ 0 w 222250"/>
                <a:gd name="connsiteY1" fmla="*/ 60325 h 946150"/>
                <a:gd name="connsiteX2" fmla="*/ 41275 w 222250"/>
                <a:gd name="connsiteY2" fmla="*/ 92075 h 946150"/>
                <a:gd name="connsiteX3" fmla="*/ 44450 w 222250"/>
                <a:gd name="connsiteY3" fmla="*/ 136525 h 946150"/>
                <a:gd name="connsiteX4" fmla="*/ 31750 w 222250"/>
                <a:gd name="connsiteY4" fmla="*/ 165100 h 946150"/>
                <a:gd name="connsiteX5" fmla="*/ 28575 w 222250"/>
                <a:gd name="connsiteY5" fmla="*/ 225425 h 946150"/>
                <a:gd name="connsiteX6" fmla="*/ 41275 w 222250"/>
                <a:gd name="connsiteY6" fmla="*/ 355600 h 946150"/>
                <a:gd name="connsiteX7" fmla="*/ 47625 w 222250"/>
                <a:gd name="connsiteY7" fmla="*/ 390525 h 946150"/>
                <a:gd name="connsiteX8" fmla="*/ 38100 w 222250"/>
                <a:gd name="connsiteY8" fmla="*/ 428625 h 946150"/>
                <a:gd name="connsiteX9" fmla="*/ 69850 w 222250"/>
                <a:gd name="connsiteY9" fmla="*/ 476250 h 946150"/>
                <a:gd name="connsiteX10" fmla="*/ 92075 w 222250"/>
                <a:gd name="connsiteY10" fmla="*/ 492125 h 946150"/>
                <a:gd name="connsiteX11" fmla="*/ 107950 w 222250"/>
                <a:gd name="connsiteY11" fmla="*/ 565150 h 946150"/>
                <a:gd name="connsiteX12" fmla="*/ 111125 w 222250"/>
                <a:gd name="connsiteY12" fmla="*/ 593725 h 946150"/>
                <a:gd name="connsiteX13" fmla="*/ 114300 w 222250"/>
                <a:gd name="connsiteY13" fmla="*/ 688975 h 946150"/>
                <a:gd name="connsiteX14" fmla="*/ 133350 w 222250"/>
                <a:gd name="connsiteY14" fmla="*/ 730250 h 946150"/>
                <a:gd name="connsiteX15" fmla="*/ 133350 w 222250"/>
                <a:gd name="connsiteY15" fmla="*/ 765175 h 946150"/>
                <a:gd name="connsiteX16" fmla="*/ 152400 w 222250"/>
                <a:gd name="connsiteY16" fmla="*/ 825500 h 946150"/>
                <a:gd name="connsiteX17" fmla="*/ 177800 w 222250"/>
                <a:gd name="connsiteY17" fmla="*/ 869950 h 946150"/>
                <a:gd name="connsiteX18" fmla="*/ 203200 w 222250"/>
                <a:gd name="connsiteY18" fmla="*/ 920750 h 946150"/>
                <a:gd name="connsiteX19" fmla="*/ 222250 w 222250"/>
                <a:gd name="connsiteY19" fmla="*/ 946150 h 946150"/>
                <a:gd name="connsiteX0" fmla="*/ 22225 w 203200"/>
                <a:gd name="connsiteY0" fmla="*/ 0 h 920750"/>
                <a:gd name="connsiteX1" fmla="*/ 0 w 203200"/>
                <a:gd name="connsiteY1" fmla="*/ 60325 h 920750"/>
                <a:gd name="connsiteX2" fmla="*/ 41275 w 203200"/>
                <a:gd name="connsiteY2" fmla="*/ 92075 h 920750"/>
                <a:gd name="connsiteX3" fmla="*/ 44450 w 203200"/>
                <a:gd name="connsiteY3" fmla="*/ 136525 h 920750"/>
                <a:gd name="connsiteX4" fmla="*/ 31750 w 203200"/>
                <a:gd name="connsiteY4" fmla="*/ 165100 h 920750"/>
                <a:gd name="connsiteX5" fmla="*/ 28575 w 203200"/>
                <a:gd name="connsiteY5" fmla="*/ 225425 h 920750"/>
                <a:gd name="connsiteX6" fmla="*/ 41275 w 203200"/>
                <a:gd name="connsiteY6" fmla="*/ 355600 h 920750"/>
                <a:gd name="connsiteX7" fmla="*/ 47625 w 203200"/>
                <a:gd name="connsiteY7" fmla="*/ 390525 h 920750"/>
                <a:gd name="connsiteX8" fmla="*/ 38100 w 203200"/>
                <a:gd name="connsiteY8" fmla="*/ 428625 h 920750"/>
                <a:gd name="connsiteX9" fmla="*/ 69850 w 203200"/>
                <a:gd name="connsiteY9" fmla="*/ 476250 h 920750"/>
                <a:gd name="connsiteX10" fmla="*/ 92075 w 203200"/>
                <a:gd name="connsiteY10" fmla="*/ 492125 h 920750"/>
                <a:gd name="connsiteX11" fmla="*/ 107950 w 203200"/>
                <a:gd name="connsiteY11" fmla="*/ 565150 h 920750"/>
                <a:gd name="connsiteX12" fmla="*/ 111125 w 203200"/>
                <a:gd name="connsiteY12" fmla="*/ 593725 h 920750"/>
                <a:gd name="connsiteX13" fmla="*/ 114300 w 203200"/>
                <a:gd name="connsiteY13" fmla="*/ 688975 h 920750"/>
                <a:gd name="connsiteX14" fmla="*/ 133350 w 203200"/>
                <a:gd name="connsiteY14" fmla="*/ 730250 h 920750"/>
                <a:gd name="connsiteX15" fmla="*/ 133350 w 203200"/>
                <a:gd name="connsiteY15" fmla="*/ 765175 h 920750"/>
                <a:gd name="connsiteX16" fmla="*/ 152400 w 203200"/>
                <a:gd name="connsiteY16" fmla="*/ 825500 h 920750"/>
                <a:gd name="connsiteX17" fmla="*/ 177800 w 203200"/>
                <a:gd name="connsiteY17" fmla="*/ 869950 h 920750"/>
                <a:gd name="connsiteX18" fmla="*/ 203200 w 203200"/>
                <a:gd name="connsiteY18" fmla="*/ 920750 h 920750"/>
                <a:gd name="connsiteX0" fmla="*/ 22225 w 203200"/>
                <a:gd name="connsiteY0" fmla="*/ 0 h 920750"/>
                <a:gd name="connsiteX1" fmla="*/ 0 w 203200"/>
                <a:gd name="connsiteY1" fmla="*/ 60325 h 920750"/>
                <a:gd name="connsiteX2" fmla="*/ 41275 w 203200"/>
                <a:gd name="connsiteY2" fmla="*/ 92075 h 920750"/>
                <a:gd name="connsiteX3" fmla="*/ 44450 w 203200"/>
                <a:gd name="connsiteY3" fmla="*/ 136525 h 920750"/>
                <a:gd name="connsiteX4" fmla="*/ 31750 w 203200"/>
                <a:gd name="connsiteY4" fmla="*/ 165100 h 920750"/>
                <a:gd name="connsiteX5" fmla="*/ 28575 w 203200"/>
                <a:gd name="connsiteY5" fmla="*/ 225425 h 920750"/>
                <a:gd name="connsiteX6" fmla="*/ 41275 w 203200"/>
                <a:gd name="connsiteY6" fmla="*/ 355600 h 920750"/>
                <a:gd name="connsiteX7" fmla="*/ 47625 w 203200"/>
                <a:gd name="connsiteY7" fmla="*/ 390525 h 920750"/>
                <a:gd name="connsiteX8" fmla="*/ 38100 w 203200"/>
                <a:gd name="connsiteY8" fmla="*/ 428625 h 920750"/>
                <a:gd name="connsiteX9" fmla="*/ 69850 w 203200"/>
                <a:gd name="connsiteY9" fmla="*/ 476250 h 920750"/>
                <a:gd name="connsiteX10" fmla="*/ 92075 w 203200"/>
                <a:gd name="connsiteY10" fmla="*/ 492125 h 920750"/>
                <a:gd name="connsiteX11" fmla="*/ 107950 w 203200"/>
                <a:gd name="connsiteY11" fmla="*/ 565150 h 920750"/>
                <a:gd name="connsiteX12" fmla="*/ 111125 w 203200"/>
                <a:gd name="connsiteY12" fmla="*/ 593725 h 920750"/>
                <a:gd name="connsiteX13" fmla="*/ 114300 w 203200"/>
                <a:gd name="connsiteY13" fmla="*/ 688975 h 920750"/>
                <a:gd name="connsiteX14" fmla="*/ 133350 w 203200"/>
                <a:gd name="connsiteY14" fmla="*/ 730250 h 920750"/>
                <a:gd name="connsiteX15" fmla="*/ 133350 w 203200"/>
                <a:gd name="connsiteY15" fmla="*/ 765175 h 920750"/>
                <a:gd name="connsiteX16" fmla="*/ 177800 w 203200"/>
                <a:gd name="connsiteY16" fmla="*/ 869950 h 920750"/>
                <a:gd name="connsiteX17" fmla="*/ 203200 w 203200"/>
                <a:gd name="connsiteY17" fmla="*/ 920750 h 920750"/>
                <a:gd name="connsiteX0" fmla="*/ 22225 w 203200"/>
                <a:gd name="connsiteY0" fmla="*/ 0 h 920750"/>
                <a:gd name="connsiteX1" fmla="*/ 0 w 203200"/>
                <a:gd name="connsiteY1" fmla="*/ 60325 h 920750"/>
                <a:gd name="connsiteX2" fmla="*/ 41275 w 203200"/>
                <a:gd name="connsiteY2" fmla="*/ 92075 h 920750"/>
                <a:gd name="connsiteX3" fmla="*/ 44450 w 203200"/>
                <a:gd name="connsiteY3" fmla="*/ 136525 h 920750"/>
                <a:gd name="connsiteX4" fmla="*/ 31750 w 203200"/>
                <a:gd name="connsiteY4" fmla="*/ 165100 h 920750"/>
                <a:gd name="connsiteX5" fmla="*/ 28575 w 203200"/>
                <a:gd name="connsiteY5" fmla="*/ 225425 h 920750"/>
                <a:gd name="connsiteX6" fmla="*/ 41275 w 203200"/>
                <a:gd name="connsiteY6" fmla="*/ 355600 h 920750"/>
                <a:gd name="connsiteX7" fmla="*/ 47625 w 203200"/>
                <a:gd name="connsiteY7" fmla="*/ 390525 h 920750"/>
                <a:gd name="connsiteX8" fmla="*/ 38100 w 203200"/>
                <a:gd name="connsiteY8" fmla="*/ 428625 h 920750"/>
                <a:gd name="connsiteX9" fmla="*/ 69850 w 203200"/>
                <a:gd name="connsiteY9" fmla="*/ 476250 h 920750"/>
                <a:gd name="connsiteX10" fmla="*/ 92075 w 203200"/>
                <a:gd name="connsiteY10" fmla="*/ 492125 h 920750"/>
                <a:gd name="connsiteX11" fmla="*/ 107950 w 203200"/>
                <a:gd name="connsiteY11" fmla="*/ 565150 h 920750"/>
                <a:gd name="connsiteX12" fmla="*/ 111125 w 203200"/>
                <a:gd name="connsiteY12" fmla="*/ 593725 h 920750"/>
                <a:gd name="connsiteX13" fmla="*/ 114300 w 203200"/>
                <a:gd name="connsiteY13" fmla="*/ 688975 h 920750"/>
                <a:gd name="connsiteX14" fmla="*/ 133350 w 203200"/>
                <a:gd name="connsiteY14" fmla="*/ 730250 h 920750"/>
                <a:gd name="connsiteX15" fmla="*/ 133350 w 203200"/>
                <a:gd name="connsiteY15" fmla="*/ 765175 h 920750"/>
                <a:gd name="connsiteX16" fmla="*/ 203200 w 203200"/>
                <a:gd name="connsiteY16" fmla="*/ 920750 h 920750"/>
                <a:gd name="connsiteX0" fmla="*/ 22225 w 133350"/>
                <a:gd name="connsiteY0" fmla="*/ 0 h 765175"/>
                <a:gd name="connsiteX1" fmla="*/ 0 w 133350"/>
                <a:gd name="connsiteY1" fmla="*/ 60325 h 765175"/>
                <a:gd name="connsiteX2" fmla="*/ 41275 w 133350"/>
                <a:gd name="connsiteY2" fmla="*/ 92075 h 765175"/>
                <a:gd name="connsiteX3" fmla="*/ 44450 w 133350"/>
                <a:gd name="connsiteY3" fmla="*/ 136525 h 765175"/>
                <a:gd name="connsiteX4" fmla="*/ 31750 w 133350"/>
                <a:gd name="connsiteY4" fmla="*/ 165100 h 765175"/>
                <a:gd name="connsiteX5" fmla="*/ 28575 w 133350"/>
                <a:gd name="connsiteY5" fmla="*/ 225425 h 765175"/>
                <a:gd name="connsiteX6" fmla="*/ 41275 w 133350"/>
                <a:gd name="connsiteY6" fmla="*/ 355600 h 765175"/>
                <a:gd name="connsiteX7" fmla="*/ 47625 w 133350"/>
                <a:gd name="connsiteY7" fmla="*/ 390525 h 765175"/>
                <a:gd name="connsiteX8" fmla="*/ 38100 w 133350"/>
                <a:gd name="connsiteY8" fmla="*/ 428625 h 765175"/>
                <a:gd name="connsiteX9" fmla="*/ 69850 w 133350"/>
                <a:gd name="connsiteY9" fmla="*/ 476250 h 765175"/>
                <a:gd name="connsiteX10" fmla="*/ 92075 w 133350"/>
                <a:gd name="connsiteY10" fmla="*/ 492125 h 765175"/>
                <a:gd name="connsiteX11" fmla="*/ 107950 w 133350"/>
                <a:gd name="connsiteY11" fmla="*/ 565150 h 765175"/>
                <a:gd name="connsiteX12" fmla="*/ 111125 w 133350"/>
                <a:gd name="connsiteY12" fmla="*/ 593725 h 765175"/>
                <a:gd name="connsiteX13" fmla="*/ 114300 w 133350"/>
                <a:gd name="connsiteY13" fmla="*/ 688975 h 765175"/>
                <a:gd name="connsiteX14" fmla="*/ 133350 w 133350"/>
                <a:gd name="connsiteY14" fmla="*/ 730250 h 765175"/>
                <a:gd name="connsiteX15" fmla="*/ 133350 w 133350"/>
                <a:gd name="connsiteY15" fmla="*/ 765175 h 76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350" h="765175">
                  <a:moveTo>
                    <a:pt x="22225" y="0"/>
                  </a:moveTo>
                  <a:lnTo>
                    <a:pt x="0" y="60325"/>
                  </a:lnTo>
                  <a:lnTo>
                    <a:pt x="41275" y="92075"/>
                  </a:lnTo>
                  <a:lnTo>
                    <a:pt x="44450" y="136525"/>
                  </a:lnTo>
                  <a:lnTo>
                    <a:pt x="31750" y="165100"/>
                  </a:lnTo>
                  <a:lnTo>
                    <a:pt x="28575" y="225425"/>
                  </a:lnTo>
                  <a:lnTo>
                    <a:pt x="41275" y="355600"/>
                  </a:lnTo>
                  <a:lnTo>
                    <a:pt x="47625" y="390525"/>
                  </a:lnTo>
                  <a:lnTo>
                    <a:pt x="38100" y="428625"/>
                  </a:lnTo>
                  <a:lnTo>
                    <a:pt x="69850" y="476250"/>
                  </a:lnTo>
                  <a:lnTo>
                    <a:pt x="92075" y="492125"/>
                  </a:lnTo>
                  <a:lnTo>
                    <a:pt x="107950" y="565150"/>
                  </a:lnTo>
                  <a:lnTo>
                    <a:pt x="111125" y="593725"/>
                  </a:lnTo>
                  <a:lnTo>
                    <a:pt x="114300" y="688975"/>
                  </a:lnTo>
                  <a:lnTo>
                    <a:pt x="133350" y="730250"/>
                  </a:lnTo>
                  <a:lnTo>
                    <a:pt x="133350" y="765175"/>
                  </a:lnTo>
                </a:path>
              </a:pathLst>
            </a:custGeom>
            <a:noFill/>
            <a:ln w="317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5" name="Freeform 234"/>
            <p:cNvSpPr/>
            <p:nvPr/>
          </p:nvSpPr>
          <p:spPr>
            <a:xfrm>
              <a:off x="5638883" y="2971101"/>
              <a:ext cx="1911351" cy="200025"/>
            </a:xfrm>
            <a:custGeom>
              <a:avLst/>
              <a:gdLst>
                <a:gd name="connsiteX0" fmla="*/ 0 w 1433513"/>
                <a:gd name="connsiteY0" fmla="*/ 0 h 150019"/>
                <a:gd name="connsiteX1" fmla="*/ 80963 w 1433513"/>
                <a:gd name="connsiteY1" fmla="*/ 19050 h 150019"/>
                <a:gd name="connsiteX2" fmla="*/ 123825 w 1433513"/>
                <a:gd name="connsiteY2" fmla="*/ 16669 h 150019"/>
                <a:gd name="connsiteX3" fmla="*/ 157163 w 1433513"/>
                <a:gd name="connsiteY3" fmla="*/ 42863 h 150019"/>
                <a:gd name="connsiteX4" fmla="*/ 180975 w 1433513"/>
                <a:gd name="connsiteY4" fmla="*/ 42863 h 150019"/>
                <a:gd name="connsiteX5" fmla="*/ 261938 w 1433513"/>
                <a:gd name="connsiteY5" fmla="*/ 54769 h 150019"/>
                <a:gd name="connsiteX6" fmla="*/ 326231 w 1433513"/>
                <a:gd name="connsiteY6" fmla="*/ 52388 h 150019"/>
                <a:gd name="connsiteX7" fmla="*/ 335756 w 1433513"/>
                <a:gd name="connsiteY7" fmla="*/ 64294 h 150019"/>
                <a:gd name="connsiteX8" fmla="*/ 373856 w 1433513"/>
                <a:gd name="connsiteY8" fmla="*/ 47625 h 150019"/>
                <a:gd name="connsiteX9" fmla="*/ 426244 w 1433513"/>
                <a:gd name="connsiteY9" fmla="*/ 35719 h 150019"/>
                <a:gd name="connsiteX10" fmla="*/ 464344 w 1433513"/>
                <a:gd name="connsiteY10" fmla="*/ 33338 h 150019"/>
                <a:gd name="connsiteX11" fmla="*/ 485775 w 1433513"/>
                <a:gd name="connsiteY11" fmla="*/ 42863 h 150019"/>
                <a:gd name="connsiteX12" fmla="*/ 528638 w 1433513"/>
                <a:gd name="connsiteY12" fmla="*/ 2381 h 150019"/>
                <a:gd name="connsiteX13" fmla="*/ 569119 w 1433513"/>
                <a:gd name="connsiteY13" fmla="*/ 2381 h 150019"/>
                <a:gd name="connsiteX14" fmla="*/ 619125 w 1433513"/>
                <a:gd name="connsiteY14" fmla="*/ 7144 h 150019"/>
                <a:gd name="connsiteX15" fmla="*/ 669131 w 1433513"/>
                <a:gd name="connsiteY15" fmla="*/ 30956 h 150019"/>
                <a:gd name="connsiteX16" fmla="*/ 692944 w 1433513"/>
                <a:gd name="connsiteY16" fmla="*/ 45244 h 150019"/>
                <a:gd name="connsiteX17" fmla="*/ 721519 w 1433513"/>
                <a:gd name="connsiteY17" fmla="*/ 50006 h 150019"/>
                <a:gd name="connsiteX18" fmla="*/ 754856 w 1433513"/>
                <a:gd name="connsiteY18" fmla="*/ 54769 h 150019"/>
                <a:gd name="connsiteX19" fmla="*/ 762000 w 1433513"/>
                <a:gd name="connsiteY19" fmla="*/ 80963 h 150019"/>
                <a:gd name="connsiteX20" fmla="*/ 776288 w 1433513"/>
                <a:gd name="connsiteY20" fmla="*/ 92869 h 150019"/>
                <a:gd name="connsiteX21" fmla="*/ 859631 w 1433513"/>
                <a:gd name="connsiteY21" fmla="*/ 97631 h 150019"/>
                <a:gd name="connsiteX22" fmla="*/ 907256 w 1433513"/>
                <a:gd name="connsiteY22" fmla="*/ 90488 h 150019"/>
                <a:gd name="connsiteX23" fmla="*/ 935831 w 1433513"/>
                <a:gd name="connsiteY23" fmla="*/ 76200 h 150019"/>
                <a:gd name="connsiteX24" fmla="*/ 983456 w 1433513"/>
                <a:gd name="connsiteY24" fmla="*/ 80963 h 150019"/>
                <a:gd name="connsiteX25" fmla="*/ 1042988 w 1433513"/>
                <a:gd name="connsiteY25" fmla="*/ 73819 h 150019"/>
                <a:gd name="connsiteX26" fmla="*/ 1081088 w 1433513"/>
                <a:gd name="connsiteY26" fmla="*/ 69056 h 150019"/>
                <a:gd name="connsiteX27" fmla="*/ 1116806 w 1433513"/>
                <a:gd name="connsiteY27" fmla="*/ 47625 h 150019"/>
                <a:gd name="connsiteX28" fmla="*/ 1150144 w 1433513"/>
                <a:gd name="connsiteY28" fmla="*/ 64294 h 150019"/>
                <a:gd name="connsiteX29" fmla="*/ 1150144 w 1433513"/>
                <a:gd name="connsiteY29" fmla="*/ 107156 h 150019"/>
                <a:gd name="connsiteX30" fmla="*/ 1193006 w 1433513"/>
                <a:gd name="connsiteY30" fmla="*/ 123825 h 150019"/>
                <a:gd name="connsiteX31" fmla="*/ 1240631 w 1433513"/>
                <a:gd name="connsiteY31" fmla="*/ 102394 h 150019"/>
                <a:gd name="connsiteX32" fmla="*/ 1273969 w 1433513"/>
                <a:gd name="connsiteY32" fmla="*/ 102394 h 150019"/>
                <a:gd name="connsiteX33" fmla="*/ 1333500 w 1433513"/>
                <a:gd name="connsiteY33" fmla="*/ 104775 h 150019"/>
                <a:gd name="connsiteX34" fmla="*/ 1378744 w 1433513"/>
                <a:gd name="connsiteY34" fmla="*/ 135731 h 150019"/>
                <a:gd name="connsiteX35" fmla="*/ 1414463 w 1433513"/>
                <a:gd name="connsiteY35" fmla="*/ 145256 h 150019"/>
                <a:gd name="connsiteX36" fmla="*/ 1433513 w 1433513"/>
                <a:gd name="connsiteY36" fmla="*/ 150019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433513" h="150019">
                  <a:moveTo>
                    <a:pt x="0" y="0"/>
                  </a:moveTo>
                  <a:lnTo>
                    <a:pt x="80963" y="19050"/>
                  </a:lnTo>
                  <a:lnTo>
                    <a:pt x="123825" y="16669"/>
                  </a:lnTo>
                  <a:lnTo>
                    <a:pt x="157163" y="42863"/>
                  </a:lnTo>
                  <a:lnTo>
                    <a:pt x="180975" y="42863"/>
                  </a:lnTo>
                  <a:lnTo>
                    <a:pt x="261938" y="54769"/>
                  </a:lnTo>
                  <a:lnTo>
                    <a:pt x="326231" y="52388"/>
                  </a:lnTo>
                  <a:lnTo>
                    <a:pt x="335756" y="64294"/>
                  </a:lnTo>
                  <a:lnTo>
                    <a:pt x="373856" y="47625"/>
                  </a:lnTo>
                  <a:lnTo>
                    <a:pt x="426244" y="35719"/>
                  </a:lnTo>
                  <a:lnTo>
                    <a:pt x="464344" y="33338"/>
                  </a:lnTo>
                  <a:lnTo>
                    <a:pt x="485775" y="42863"/>
                  </a:lnTo>
                  <a:lnTo>
                    <a:pt x="528638" y="2381"/>
                  </a:lnTo>
                  <a:lnTo>
                    <a:pt x="569119" y="2381"/>
                  </a:lnTo>
                  <a:lnTo>
                    <a:pt x="619125" y="7144"/>
                  </a:lnTo>
                  <a:lnTo>
                    <a:pt x="669131" y="30956"/>
                  </a:lnTo>
                  <a:lnTo>
                    <a:pt x="692944" y="45244"/>
                  </a:lnTo>
                  <a:cubicBezTo>
                    <a:pt x="718313" y="50317"/>
                    <a:pt x="708662" y="50006"/>
                    <a:pt x="721519" y="50006"/>
                  </a:cubicBezTo>
                  <a:lnTo>
                    <a:pt x="754856" y="54769"/>
                  </a:lnTo>
                  <a:lnTo>
                    <a:pt x="762000" y="80963"/>
                  </a:lnTo>
                  <a:lnTo>
                    <a:pt x="776288" y="92869"/>
                  </a:lnTo>
                  <a:lnTo>
                    <a:pt x="859631" y="97631"/>
                  </a:lnTo>
                  <a:lnTo>
                    <a:pt x="907256" y="90488"/>
                  </a:lnTo>
                  <a:lnTo>
                    <a:pt x="935831" y="76200"/>
                  </a:lnTo>
                  <a:lnTo>
                    <a:pt x="983456" y="80963"/>
                  </a:lnTo>
                  <a:lnTo>
                    <a:pt x="1042988" y="73819"/>
                  </a:lnTo>
                  <a:lnTo>
                    <a:pt x="1081088" y="69056"/>
                  </a:lnTo>
                  <a:lnTo>
                    <a:pt x="1116806" y="47625"/>
                  </a:lnTo>
                  <a:lnTo>
                    <a:pt x="1150144" y="64294"/>
                  </a:lnTo>
                  <a:lnTo>
                    <a:pt x="1150144" y="107156"/>
                  </a:lnTo>
                  <a:lnTo>
                    <a:pt x="1193006" y="123825"/>
                  </a:lnTo>
                  <a:lnTo>
                    <a:pt x="1240631" y="102394"/>
                  </a:lnTo>
                  <a:lnTo>
                    <a:pt x="1273969" y="102394"/>
                  </a:lnTo>
                  <a:lnTo>
                    <a:pt x="1333500" y="104775"/>
                  </a:lnTo>
                  <a:lnTo>
                    <a:pt x="1378744" y="135731"/>
                  </a:lnTo>
                  <a:lnTo>
                    <a:pt x="1414463" y="145256"/>
                  </a:lnTo>
                  <a:lnTo>
                    <a:pt x="1433513" y="150019"/>
                  </a:lnTo>
                </a:path>
              </a:pathLst>
            </a:custGeom>
            <a:noFill/>
            <a:ln w="25400" cap="flat" cmpd="sng" algn="ctr">
              <a:solidFill>
                <a:srgbClr val="FAAD9E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6" name="Freeform 239"/>
            <p:cNvSpPr/>
            <p:nvPr/>
          </p:nvSpPr>
          <p:spPr>
            <a:xfrm>
              <a:off x="7158646" y="1386422"/>
              <a:ext cx="2440517" cy="1726141"/>
            </a:xfrm>
            <a:custGeom>
              <a:avLst/>
              <a:gdLst>
                <a:gd name="connsiteX0" fmla="*/ 1374775 w 1374775"/>
                <a:gd name="connsiteY0" fmla="*/ 34925 h 555625"/>
                <a:gd name="connsiteX1" fmla="*/ 1327150 w 1374775"/>
                <a:gd name="connsiteY1" fmla="*/ 12700 h 555625"/>
                <a:gd name="connsiteX2" fmla="*/ 1285875 w 1374775"/>
                <a:gd name="connsiteY2" fmla="*/ 15875 h 555625"/>
                <a:gd name="connsiteX3" fmla="*/ 1260475 w 1374775"/>
                <a:gd name="connsiteY3" fmla="*/ 15875 h 555625"/>
                <a:gd name="connsiteX4" fmla="*/ 1241425 w 1374775"/>
                <a:gd name="connsiteY4" fmla="*/ 15875 h 555625"/>
                <a:gd name="connsiteX5" fmla="*/ 1225550 w 1374775"/>
                <a:gd name="connsiteY5" fmla="*/ 0 h 555625"/>
                <a:gd name="connsiteX6" fmla="*/ 1203325 w 1374775"/>
                <a:gd name="connsiteY6" fmla="*/ 0 h 555625"/>
                <a:gd name="connsiteX7" fmla="*/ 1174750 w 1374775"/>
                <a:gd name="connsiteY7" fmla="*/ 0 h 555625"/>
                <a:gd name="connsiteX8" fmla="*/ 1155700 w 1374775"/>
                <a:gd name="connsiteY8" fmla="*/ 34925 h 555625"/>
                <a:gd name="connsiteX9" fmla="*/ 1120775 w 1374775"/>
                <a:gd name="connsiteY9" fmla="*/ 25400 h 555625"/>
                <a:gd name="connsiteX10" fmla="*/ 1079500 w 1374775"/>
                <a:gd name="connsiteY10" fmla="*/ 25400 h 555625"/>
                <a:gd name="connsiteX11" fmla="*/ 1079500 w 1374775"/>
                <a:gd name="connsiteY11" fmla="*/ 25400 h 555625"/>
                <a:gd name="connsiteX12" fmla="*/ 1025525 w 1374775"/>
                <a:gd name="connsiteY12" fmla="*/ 25400 h 555625"/>
                <a:gd name="connsiteX13" fmla="*/ 1000125 w 1374775"/>
                <a:gd name="connsiteY13" fmla="*/ 38100 h 555625"/>
                <a:gd name="connsiteX14" fmla="*/ 958850 w 1374775"/>
                <a:gd name="connsiteY14" fmla="*/ 31750 h 555625"/>
                <a:gd name="connsiteX15" fmla="*/ 927100 w 1374775"/>
                <a:gd name="connsiteY15" fmla="*/ 50800 h 555625"/>
                <a:gd name="connsiteX16" fmla="*/ 879475 w 1374775"/>
                <a:gd name="connsiteY16" fmla="*/ 53975 h 555625"/>
                <a:gd name="connsiteX17" fmla="*/ 850900 w 1374775"/>
                <a:gd name="connsiteY17" fmla="*/ 88900 h 555625"/>
                <a:gd name="connsiteX18" fmla="*/ 806450 w 1374775"/>
                <a:gd name="connsiteY18" fmla="*/ 92075 h 555625"/>
                <a:gd name="connsiteX19" fmla="*/ 742950 w 1374775"/>
                <a:gd name="connsiteY19" fmla="*/ 114300 h 555625"/>
                <a:gd name="connsiteX20" fmla="*/ 692150 w 1374775"/>
                <a:gd name="connsiteY20" fmla="*/ 158750 h 555625"/>
                <a:gd name="connsiteX21" fmla="*/ 663575 w 1374775"/>
                <a:gd name="connsiteY21" fmla="*/ 174625 h 555625"/>
                <a:gd name="connsiteX22" fmla="*/ 631825 w 1374775"/>
                <a:gd name="connsiteY22" fmla="*/ 171450 h 555625"/>
                <a:gd name="connsiteX23" fmla="*/ 612775 w 1374775"/>
                <a:gd name="connsiteY23" fmla="*/ 203200 h 555625"/>
                <a:gd name="connsiteX24" fmla="*/ 587375 w 1374775"/>
                <a:gd name="connsiteY24" fmla="*/ 193675 h 555625"/>
                <a:gd name="connsiteX25" fmla="*/ 571500 w 1374775"/>
                <a:gd name="connsiteY25" fmla="*/ 196850 h 555625"/>
                <a:gd name="connsiteX26" fmla="*/ 536575 w 1374775"/>
                <a:gd name="connsiteY26" fmla="*/ 238125 h 555625"/>
                <a:gd name="connsiteX27" fmla="*/ 428625 w 1374775"/>
                <a:gd name="connsiteY27" fmla="*/ 238125 h 555625"/>
                <a:gd name="connsiteX28" fmla="*/ 415925 w 1374775"/>
                <a:gd name="connsiteY28" fmla="*/ 269875 h 555625"/>
                <a:gd name="connsiteX29" fmla="*/ 393700 w 1374775"/>
                <a:gd name="connsiteY29" fmla="*/ 266700 h 555625"/>
                <a:gd name="connsiteX30" fmla="*/ 377825 w 1374775"/>
                <a:gd name="connsiteY30" fmla="*/ 295275 h 555625"/>
                <a:gd name="connsiteX31" fmla="*/ 346075 w 1374775"/>
                <a:gd name="connsiteY31" fmla="*/ 295275 h 555625"/>
                <a:gd name="connsiteX32" fmla="*/ 330200 w 1374775"/>
                <a:gd name="connsiteY32" fmla="*/ 298450 h 555625"/>
                <a:gd name="connsiteX33" fmla="*/ 317500 w 1374775"/>
                <a:gd name="connsiteY33" fmla="*/ 320675 h 555625"/>
                <a:gd name="connsiteX34" fmla="*/ 276225 w 1374775"/>
                <a:gd name="connsiteY34" fmla="*/ 311150 h 555625"/>
                <a:gd name="connsiteX35" fmla="*/ 257175 w 1374775"/>
                <a:gd name="connsiteY35" fmla="*/ 336550 h 555625"/>
                <a:gd name="connsiteX36" fmla="*/ 250825 w 1374775"/>
                <a:gd name="connsiteY36" fmla="*/ 352425 h 555625"/>
                <a:gd name="connsiteX37" fmla="*/ 177800 w 1374775"/>
                <a:gd name="connsiteY37" fmla="*/ 371475 h 555625"/>
                <a:gd name="connsiteX38" fmla="*/ 127000 w 1374775"/>
                <a:gd name="connsiteY38" fmla="*/ 400050 h 555625"/>
                <a:gd name="connsiteX39" fmla="*/ 82550 w 1374775"/>
                <a:gd name="connsiteY39" fmla="*/ 479425 h 555625"/>
                <a:gd name="connsiteX40" fmla="*/ 63500 w 1374775"/>
                <a:gd name="connsiteY40" fmla="*/ 495300 h 555625"/>
                <a:gd name="connsiteX41" fmla="*/ 31750 w 1374775"/>
                <a:gd name="connsiteY41" fmla="*/ 527050 h 555625"/>
                <a:gd name="connsiteX42" fmla="*/ 0 w 1374775"/>
                <a:gd name="connsiteY42" fmla="*/ 555625 h 555625"/>
                <a:gd name="connsiteX0" fmla="*/ 1816100 w 1816100"/>
                <a:gd name="connsiteY0" fmla="*/ 0 h 1254125"/>
                <a:gd name="connsiteX1" fmla="*/ 1327150 w 1816100"/>
                <a:gd name="connsiteY1" fmla="*/ 711200 h 1254125"/>
                <a:gd name="connsiteX2" fmla="*/ 1285875 w 1816100"/>
                <a:gd name="connsiteY2" fmla="*/ 714375 h 1254125"/>
                <a:gd name="connsiteX3" fmla="*/ 1260475 w 1816100"/>
                <a:gd name="connsiteY3" fmla="*/ 714375 h 1254125"/>
                <a:gd name="connsiteX4" fmla="*/ 1241425 w 1816100"/>
                <a:gd name="connsiteY4" fmla="*/ 714375 h 1254125"/>
                <a:gd name="connsiteX5" fmla="*/ 1225550 w 1816100"/>
                <a:gd name="connsiteY5" fmla="*/ 698500 h 1254125"/>
                <a:gd name="connsiteX6" fmla="*/ 1203325 w 1816100"/>
                <a:gd name="connsiteY6" fmla="*/ 698500 h 1254125"/>
                <a:gd name="connsiteX7" fmla="*/ 1174750 w 1816100"/>
                <a:gd name="connsiteY7" fmla="*/ 698500 h 1254125"/>
                <a:gd name="connsiteX8" fmla="*/ 1155700 w 1816100"/>
                <a:gd name="connsiteY8" fmla="*/ 733425 h 1254125"/>
                <a:gd name="connsiteX9" fmla="*/ 1120775 w 1816100"/>
                <a:gd name="connsiteY9" fmla="*/ 723900 h 1254125"/>
                <a:gd name="connsiteX10" fmla="*/ 1079500 w 1816100"/>
                <a:gd name="connsiteY10" fmla="*/ 723900 h 1254125"/>
                <a:gd name="connsiteX11" fmla="*/ 1079500 w 1816100"/>
                <a:gd name="connsiteY11" fmla="*/ 723900 h 1254125"/>
                <a:gd name="connsiteX12" fmla="*/ 1025525 w 1816100"/>
                <a:gd name="connsiteY12" fmla="*/ 723900 h 1254125"/>
                <a:gd name="connsiteX13" fmla="*/ 1000125 w 1816100"/>
                <a:gd name="connsiteY13" fmla="*/ 736600 h 1254125"/>
                <a:gd name="connsiteX14" fmla="*/ 958850 w 1816100"/>
                <a:gd name="connsiteY14" fmla="*/ 730250 h 1254125"/>
                <a:gd name="connsiteX15" fmla="*/ 927100 w 1816100"/>
                <a:gd name="connsiteY15" fmla="*/ 749300 h 1254125"/>
                <a:gd name="connsiteX16" fmla="*/ 879475 w 1816100"/>
                <a:gd name="connsiteY16" fmla="*/ 752475 h 1254125"/>
                <a:gd name="connsiteX17" fmla="*/ 850900 w 1816100"/>
                <a:gd name="connsiteY17" fmla="*/ 787400 h 1254125"/>
                <a:gd name="connsiteX18" fmla="*/ 806450 w 1816100"/>
                <a:gd name="connsiteY18" fmla="*/ 790575 h 1254125"/>
                <a:gd name="connsiteX19" fmla="*/ 742950 w 1816100"/>
                <a:gd name="connsiteY19" fmla="*/ 812800 h 1254125"/>
                <a:gd name="connsiteX20" fmla="*/ 692150 w 1816100"/>
                <a:gd name="connsiteY20" fmla="*/ 857250 h 1254125"/>
                <a:gd name="connsiteX21" fmla="*/ 663575 w 1816100"/>
                <a:gd name="connsiteY21" fmla="*/ 873125 h 1254125"/>
                <a:gd name="connsiteX22" fmla="*/ 631825 w 1816100"/>
                <a:gd name="connsiteY22" fmla="*/ 869950 h 1254125"/>
                <a:gd name="connsiteX23" fmla="*/ 612775 w 1816100"/>
                <a:gd name="connsiteY23" fmla="*/ 901700 h 1254125"/>
                <a:gd name="connsiteX24" fmla="*/ 587375 w 1816100"/>
                <a:gd name="connsiteY24" fmla="*/ 892175 h 1254125"/>
                <a:gd name="connsiteX25" fmla="*/ 571500 w 1816100"/>
                <a:gd name="connsiteY25" fmla="*/ 895350 h 1254125"/>
                <a:gd name="connsiteX26" fmla="*/ 536575 w 1816100"/>
                <a:gd name="connsiteY26" fmla="*/ 936625 h 1254125"/>
                <a:gd name="connsiteX27" fmla="*/ 428625 w 1816100"/>
                <a:gd name="connsiteY27" fmla="*/ 936625 h 1254125"/>
                <a:gd name="connsiteX28" fmla="*/ 415925 w 1816100"/>
                <a:gd name="connsiteY28" fmla="*/ 968375 h 1254125"/>
                <a:gd name="connsiteX29" fmla="*/ 393700 w 1816100"/>
                <a:gd name="connsiteY29" fmla="*/ 965200 h 1254125"/>
                <a:gd name="connsiteX30" fmla="*/ 377825 w 1816100"/>
                <a:gd name="connsiteY30" fmla="*/ 993775 h 1254125"/>
                <a:gd name="connsiteX31" fmla="*/ 346075 w 1816100"/>
                <a:gd name="connsiteY31" fmla="*/ 993775 h 1254125"/>
                <a:gd name="connsiteX32" fmla="*/ 330200 w 1816100"/>
                <a:gd name="connsiteY32" fmla="*/ 996950 h 1254125"/>
                <a:gd name="connsiteX33" fmla="*/ 317500 w 1816100"/>
                <a:gd name="connsiteY33" fmla="*/ 1019175 h 1254125"/>
                <a:gd name="connsiteX34" fmla="*/ 276225 w 1816100"/>
                <a:gd name="connsiteY34" fmla="*/ 1009650 h 1254125"/>
                <a:gd name="connsiteX35" fmla="*/ 257175 w 1816100"/>
                <a:gd name="connsiteY35" fmla="*/ 1035050 h 1254125"/>
                <a:gd name="connsiteX36" fmla="*/ 250825 w 1816100"/>
                <a:gd name="connsiteY36" fmla="*/ 1050925 h 1254125"/>
                <a:gd name="connsiteX37" fmla="*/ 177800 w 1816100"/>
                <a:gd name="connsiteY37" fmla="*/ 1069975 h 1254125"/>
                <a:gd name="connsiteX38" fmla="*/ 127000 w 1816100"/>
                <a:gd name="connsiteY38" fmla="*/ 1098550 h 1254125"/>
                <a:gd name="connsiteX39" fmla="*/ 82550 w 1816100"/>
                <a:gd name="connsiteY39" fmla="*/ 1177925 h 1254125"/>
                <a:gd name="connsiteX40" fmla="*/ 63500 w 1816100"/>
                <a:gd name="connsiteY40" fmla="*/ 1193800 h 1254125"/>
                <a:gd name="connsiteX41" fmla="*/ 31750 w 1816100"/>
                <a:gd name="connsiteY41" fmla="*/ 1225550 h 1254125"/>
                <a:gd name="connsiteX42" fmla="*/ 0 w 1816100"/>
                <a:gd name="connsiteY42" fmla="*/ 1254125 h 1254125"/>
                <a:gd name="connsiteX0" fmla="*/ 1816100 w 1816100"/>
                <a:gd name="connsiteY0" fmla="*/ 0 h 1254125"/>
                <a:gd name="connsiteX1" fmla="*/ 1579565 w 1816100"/>
                <a:gd name="connsiteY1" fmla="*/ 553510 h 1254125"/>
                <a:gd name="connsiteX2" fmla="*/ 1327150 w 1816100"/>
                <a:gd name="connsiteY2" fmla="*/ 711200 h 1254125"/>
                <a:gd name="connsiteX3" fmla="*/ 1285875 w 1816100"/>
                <a:gd name="connsiteY3" fmla="*/ 714375 h 1254125"/>
                <a:gd name="connsiteX4" fmla="*/ 1260475 w 1816100"/>
                <a:gd name="connsiteY4" fmla="*/ 714375 h 1254125"/>
                <a:gd name="connsiteX5" fmla="*/ 1241425 w 1816100"/>
                <a:gd name="connsiteY5" fmla="*/ 714375 h 1254125"/>
                <a:gd name="connsiteX6" fmla="*/ 1225550 w 1816100"/>
                <a:gd name="connsiteY6" fmla="*/ 698500 h 1254125"/>
                <a:gd name="connsiteX7" fmla="*/ 1203325 w 1816100"/>
                <a:gd name="connsiteY7" fmla="*/ 698500 h 1254125"/>
                <a:gd name="connsiteX8" fmla="*/ 1174750 w 1816100"/>
                <a:gd name="connsiteY8" fmla="*/ 698500 h 1254125"/>
                <a:gd name="connsiteX9" fmla="*/ 1155700 w 1816100"/>
                <a:gd name="connsiteY9" fmla="*/ 733425 h 1254125"/>
                <a:gd name="connsiteX10" fmla="*/ 1120775 w 1816100"/>
                <a:gd name="connsiteY10" fmla="*/ 723900 h 1254125"/>
                <a:gd name="connsiteX11" fmla="*/ 1079500 w 1816100"/>
                <a:gd name="connsiteY11" fmla="*/ 723900 h 1254125"/>
                <a:gd name="connsiteX12" fmla="*/ 1079500 w 1816100"/>
                <a:gd name="connsiteY12" fmla="*/ 723900 h 1254125"/>
                <a:gd name="connsiteX13" fmla="*/ 1025525 w 1816100"/>
                <a:gd name="connsiteY13" fmla="*/ 723900 h 1254125"/>
                <a:gd name="connsiteX14" fmla="*/ 1000125 w 1816100"/>
                <a:gd name="connsiteY14" fmla="*/ 736600 h 1254125"/>
                <a:gd name="connsiteX15" fmla="*/ 958850 w 1816100"/>
                <a:gd name="connsiteY15" fmla="*/ 730250 h 1254125"/>
                <a:gd name="connsiteX16" fmla="*/ 927100 w 1816100"/>
                <a:gd name="connsiteY16" fmla="*/ 749300 h 1254125"/>
                <a:gd name="connsiteX17" fmla="*/ 879475 w 1816100"/>
                <a:gd name="connsiteY17" fmla="*/ 752475 h 1254125"/>
                <a:gd name="connsiteX18" fmla="*/ 850900 w 1816100"/>
                <a:gd name="connsiteY18" fmla="*/ 787400 h 1254125"/>
                <a:gd name="connsiteX19" fmla="*/ 806450 w 1816100"/>
                <a:gd name="connsiteY19" fmla="*/ 790575 h 1254125"/>
                <a:gd name="connsiteX20" fmla="*/ 742950 w 1816100"/>
                <a:gd name="connsiteY20" fmla="*/ 812800 h 1254125"/>
                <a:gd name="connsiteX21" fmla="*/ 692150 w 1816100"/>
                <a:gd name="connsiteY21" fmla="*/ 857250 h 1254125"/>
                <a:gd name="connsiteX22" fmla="*/ 663575 w 1816100"/>
                <a:gd name="connsiteY22" fmla="*/ 873125 h 1254125"/>
                <a:gd name="connsiteX23" fmla="*/ 631825 w 1816100"/>
                <a:gd name="connsiteY23" fmla="*/ 869950 h 1254125"/>
                <a:gd name="connsiteX24" fmla="*/ 612775 w 1816100"/>
                <a:gd name="connsiteY24" fmla="*/ 901700 h 1254125"/>
                <a:gd name="connsiteX25" fmla="*/ 587375 w 1816100"/>
                <a:gd name="connsiteY25" fmla="*/ 892175 h 1254125"/>
                <a:gd name="connsiteX26" fmla="*/ 571500 w 1816100"/>
                <a:gd name="connsiteY26" fmla="*/ 895350 h 1254125"/>
                <a:gd name="connsiteX27" fmla="*/ 536575 w 1816100"/>
                <a:gd name="connsiteY27" fmla="*/ 936625 h 1254125"/>
                <a:gd name="connsiteX28" fmla="*/ 428625 w 1816100"/>
                <a:gd name="connsiteY28" fmla="*/ 936625 h 1254125"/>
                <a:gd name="connsiteX29" fmla="*/ 415925 w 1816100"/>
                <a:gd name="connsiteY29" fmla="*/ 968375 h 1254125"/>
                <a:gd name="connsiteX30" fmla="*/ 393700 w 1816100"/>
                <a:gd name="connsiteY30" fmla="*/ 965200 h 1254125"/>
                <a:gd name="connsiteX31" fmla="*/ 377825 w 1816100"/>
                <a:gd name="connsiteY31" fmla="*/ 993775 h 1254125"/>
                <a:gd name="connsiteX32" fmla="*/ 346075 w 1816100"/>
                <a:gd name="connsiteY32" fmla="*/ 993775 h 1254125"/>
                <a:gd name="connsiteX33" fmla="*/ 330200 w 1816100"/>
                <a:gd name="connsiteY33" fmla="*/ 996950 h 1254125"/>
                <a:gd name="connsiteX34" fmla="*/ 317500 w 1816100"/>
                <a:gd name="connsiteY34" fmla="*/ 1019175 h 1254125"/>
                <a:gd name="connsiteX35" fmla="*/ 276225 w 1816100"/>
                <a:gd name="connsiteY35" fmla="*/ 1009650 h 1254125"/>
                <a:gd name="connsiteX36" fmla="*/ 257175 w 1816100"/>
                <a:gd name="connsiteY36" fmla="*/ 1035050 h 1254125"/>
                <a:gd name="connsiteX37" fmla="*/ 250825 w 1816100"/>
                <a:gd name="connsiteY37" fmla="*/ 1050925 h 1254125"/>
                <a:gd name="connsiteX38" fmla="*/ 177800 w 1816100"/>
                <a:gd name="connsiteY38" fmla="*/ 1069975 h 1254125"/>
                <a:gd name="connsiteX39" fmla="*/ 127000 w 1816100"/>
                <a:gd name="connsiteY39" fmla="*/ 1098550 h 1254125"/>
                <a:gd name="connsiteX40" fmla="*/ 82550 w 1816100"/>
                <a:gd name="connsiteY40" fmla="*/ 1177925 h 1254125"/>
                <a:gd name="connsiteX41" fmla="*/ 63500 w 1816100"/>
                <a:gd name="connsiteY41" fmla="*/ 1193800 h 1254125"/>
                <a:gd name="connsiteX42" fmla="*/ 31750 w 1816100"/>
                <a:gd name="connsiteY42" fmla="*/ 1225550 h 1254125"/>
                <a:gd name="connsiteX43" fmla="*/ 0 w 1816100"/>
                <a:gd name="connsiteY43" fmla="*/ 1254125 h 1254125"/>
                <a:gd name="connsiteX0" fmla="*/ 1816100 w 1816100"/>
                <a:gd name="connsiteY0" fmla="*/ 0 h 1254125"/>
                <a:gd name="connsiteX1" fmla="*/ 1579565 w 1816100"/>
                <a:gd name="connsiteY1" fmla="*/ 553510 h 1254125"/>
                <a:gd name="connsiteX2" fmla="*/ 1436690 w 1816100"/>
                <a:gd name="connsiteY2" fmla="*/ 677335 h 1254125"/>
                <a:gd name="connsiteX3" fmla="*/ 1327150 w 1816100"/>
                <a:gd name="connsiteY3" fmla="*/ 711200 h 1254125"/>
                <a:gd name="connsiteX4" fmla="*/ 1285875 w 1816100"/>
                <a:gd name="connsiteY4" fmla="*/ 714375 h 1254125"/>
                <a:gd name="connsiteX5" fmla="*/ 1260475 w 1816100"/>
                <a:gd name="connsiteY5" fmla="*/ 714375 h 1254125"/>
                <a:gd name="connsiteX6" fmla="*/ 1241425 w 1816100"/>
                <a:gd name="connsiteY6" fmla="*/ 714375 h 1254125"/>
                <a:gd name="connsiteX7" fmla="*/ 1225550 w 1816100"/>
                <a:gd name="connsiteY7" fmla="*/ 698500 h 1254125"/>
                <a:gd name="connsiteX8" fmla="*/ 1203325 w 1816100"/>
                <a:gd name="connsiteY8" fmla="*/ 698500 h 1254125"/>
                <a:gd name="connsiteX9" fmla="*/ 1174750 w 1816100"/>
                <a:gd name="connsiteY9" fmla="*/ 698500 h 1254125"/>
                <a:gd name="connsiteX10" fmla="*/ 1155700 w 1816100"/>
                <a:gd name="connsiteY10" fmla="*/ 733425 h 1254125"/>
                <a:gd name="connsiteX11" fmla="*/ 1120775 w 1816100"/>
                <a:gd name="connsiteY11" fmla="*/ 723900 h 1254125"/>
                <a:gd name="connsiteX12" fmla="*/ 1079500 w 1816100"/>
                <a:gd name="connsiteY12" fmla="*/ 723900 h 1254125"/>
                <a:gd name="connsiteX13" fmla="*/ 1079500 w 1816100"/>
                <a:gd name="connsiteY13" fmla="*/ 723900 h 1254125"/>
                <a:gd name="connsiteX14" fmla="*/ 1025525 w 1816100"/>
                <a:gd name="connsiteY14" fmla="*/ 723900 h 1254125"/>
                <a:gd name="connsiteX15" fmla="*/ 1000125 w 1816100"/>
                <a:gd name="connsiteY15" fmla="*/ 736600 h 1254125"/>
                <a:gd name="connsiteX16" fmla="*/ 958850 w 1816100"/>
                <a:gd name="connsiteY16" fmla="*/ 730250 h 1254125"/>
                <a:gd name="connsiteX17" fmla="*/ 927100 w 1816100"/>
                <a:gd name="connsiteY17" fmla="*/ 749300 h 1254125"/>
                <a:gd name="connsiteX18" fmla="*/ 879475 w 1816100"/>
                <a:gd name="connsiteY18" fmla="*/ 752475 h 1254125"/>
                <a:gd name="connsiteX19" fmla="*/ 850900 w 1816100"/>
                <a:gd name="connsiteY19" fmla="*/ 787400 h 1254125"/>
                <a:gd name="connsiteX20" fmla="*/ 806450 w 1816100"/>
                <a:gd name="connsiteY20" fmla="*/ 790575 h 1254125"/>
                <a:gd name="connsiteX21" fmla="*/ 742950 w 1816100"/>
                <a:gd name="connsiteY21" fmla="*/ 812800 h 1254125"/>
                <a:gd name="connsiteX22" fmla="*/ 692150 w 1816100"/>
                <a:gd name="connsiteY22" fmla="*/ 857250 h 1254125"/>
                <a:gd name="connsiteX23" fmla="*/ 663575 w 1816100"/>
                <a:gd name="connsiteY23" fmla="*/ 873125 h 1254125"/>
                <a:gd name="connsiteX24" fmla="*/ 631825 w 1816100"/>
                <a:gd name="connsiteY24" fmla="*/ 869950 h 1254125"/>
                <a:gd name="connsiteX25" fmla="*/ 612775 w 1816100"/>
                <a:gd name="connsiteY25" fmla="*/ 901700 h 1254125"/>
                <a:gd name="connsiteX26" fmla="*/ 587375 w 1816100"/>
                <a:gd name="connsiteY26" fmla="*/ 892175 h 1254125"/>
                <a:gd name="connsiteX27" fmla="*/ 571500 w 1816100"/>
                <a:gd name="connsiteY27" fmla="*/ 895350 h 1254125"/>
                <a:gd name="connsiteX28" fmla="*/ 536575 w 1816100"/>
                <a:gd name="connsiteY28" fmla="*/ 936625 h 1254125"/>
                <a:gd name="connsiteX29" fmla="*/ 428625 w 1816100"/>
                <a:gd name="connsiteY29" fmla="*/ 936625 h 1254125"/>
                <a:gd name="connsiteX30" fmla="*/ 415925 w 1816100"/>
                <a:gd name="connsiteY30" fmla="*/ 968375 h 1254125"/>
                <a:gd name="connsiteX31" fmla="*/ 393700 w 1816100"/>
                <a:gd name="connsiteY31" fmla="*/ 965200 h 1254125"/>
                <a:gd name="connsiteX32" fmla="*/ 377825 w 1816100"/>
                <a:gd name="connsiteY32" fmla="*/ 993775 h 1254125"/>
                <a:gd name="connsiteX33" fmla="*/ 346075 w 1816100"/>
                <a:gd name="connsiteY33" fmla="*/ 993775 h 1254125"/>
                <a:gd name="connsiteX34" fmla="*/ 330200 w 1816100"/>
                <a:gd name="connsiteY34" fmla="*/ 996950 h 1254125"/>
                <a:gd name="connsiteX35" fmla="*/ 317500 w 1816100"/>
                <a:gd name="connsiteY35" fmla="*/ 1019175 h 1254125"/>
                <a:gd name="connsiteX36" fmla="*/ 276225 w 1816100"/>
                <a:gd name="connsiteY36" fmla="*/ 1009650 h 1254125"/>
                <a:gd name="connsiteX37" fmla="*/ 257175 w 1816100"/>
                <a:gd name="connsiteY37" fmla="*/ 1035050 h 1254125"/>
                <a:gd name="connsiteX38" fmla="*/ 250825 w 1816100"/>
                <a:gd name="connsiteY38" fmla="*/ 1050925 h 1254125"/>
                <a:gd name="connsiteX39" fmla="*/ 177800 w 1816100"/>
                <a:gd name="connsiteY39" fmla="*/ 1069975 h 1254125"/>
                <a:gd name="connsiteX40" fmla="*/ 127000 w 1816100"/>
                <a:gd name="connsiteY40" fmla="*/ 1098550 h 1254125"/>
                <a:gd name="connsiteX41" fmla="*/ 82550 w 1816100"/>
                <a:gd name="connsiteY41" fmla="*/ 1177925 h 1254125"/>
                <a:gd name="connsiteX42" fmla="*/ 63500 w 1816100"/>
                <a:gd name="connsiteY42" fmla="*/ 1193800 h 1254125"/>
                <a:gd name="connsiteX43" fmla="*/ 31750 w 1816100"/>
                <a:gd name="connsiteY43" fmla="*/ 1225550 h 1254125"/>
                <a:gd name="connsiteX44" fmla="*/ 0 w 1816100"/>
                <a:gd name="connsiteY44" fmla="*/ 1254125 h 1254125"/>
                <a:gd name="connsiteX0" fmla="*/ 1816100 w 1816100"/>
                <a:gd name="connsiteY0" fmla="*/ 0 h 1254125"/>
                <a:gd name="connsiteX1" fmla="*/ 1579565 w 1816100"/>
                <a:gd name="connsiteY1" fmla="*/ 553510 h 1254125"/>
                <a:gd name="connsiteX2" fmla="*/ 1554165 w 1816100"/>
                <a:gd name="connsiteY2" fmla="*/ 632885 h 1254125"/>
                <a:gd name="connsiteX3" fmla="*/ 1436690 w 1816100"/>
                <a:gd name="connsiteY3" fmla="*/ 677335 h 1254125"/>
                <a:gd name="connsiteX4" fmla="*/ 1327150 w 1816100"/>
                <a:gd name="connsiteY4" fmla="*/ 711200 h 1254125"/>
                <a:gd name="connsiteX5" fmla="*/ 1285875 w 1816100"/>
                <a:gd name="connsiteY5" fmla="*/ 714375 h 1254125"/>
                <a:gd name="connsiteX6" fmla="*/ 1260475 w 1816100"/>
                <a:gd name="connsiteY6" fmla="*/ 714375 h 1254125"/>
                <a:gd name="connsiteX7" fmla="*/ 1241425 w 1816100"/>
                <a:gd name="connsiteY7" fmla="*/ 714375 h 1254125"/>
                <a:gd name="connsiteX8" fmla="*/ 1225550 w 1816100"/>
                <a:gd name="connsiteY8" fmla="*/ 698500 h 1254125"/>
                <a:gd name="connsiteX9" fmla="*/ 1203325 w 1816100"/>
                <a:gd name="connsiteY9" fmla="*/ 698500 h 1254125"/>
                <a:gd name="connsiteX10" fmla="*/ 1174750 w 1816100"/>
                <a:gd name="connsiteY10" fmla="*/ 698500 h 1254125"/>
                <a:gd name="connsiteX11" fmla="*/ 1155700 w 1816100"/>
                <a:gd name="connsiteY11" fmla="*/ 733425 h 1254125"/>
                <a:gd name="connsiteX12" fmla="*/ 1120775 w 1816100"/>
                <a:gd name="connsiteY12" fmla="*/ 723900 h 1254125"/>
                <a:gd name="connsiteX13" fmla="*/ 1079500 w 1816100"/>
                <a:gd name="connsiteY13" fmla="*/ 723900 h 1254125"/>
                <a:gd name="connsiteX14" fmla="*/ 1079500 w 1816100"/>
                <a:gd name="connsiteY14" fmla="*/ 723900 h 1254125"/>
                <a:gd name="connsiteX15" fmla="*/ 1025525 w 1816100"/>
                <a:gd name="connsiteY15" fmla="*/ 723900 h 1254125"/>
                <a:gd name="connsiteX16" fmla="*/ 1000125 w 1816100"/>
                <a:gd name="connsiteY16" fmla="*/ 736600 h 1254125"/>
                <a:gd name="connsiteX17" fmla="*/ 958850 w 1816100"/>
                <a:gd name="connsiteY17" fmla="*/ 730250 h 1254125"/>
                <a:gd name="connsiteX18" fmla="*/ 927100 w 1816100"/>
                <a:gd name="connsiteY18" fmla="*/ 749300 h 1254125"/>
                <a:gd name="connsiteX19" fmla="*/ 879475 w 1816100"/>
                <a:gd name="connsiteY19" fmla="*/ 752475 h 1254125"/>
                <a:gd name="connsiteX20" fmla="*/ 850900 w 1816100"/>
                <a:gd name="connsiteY20" fmla="*/ 787400 h 1254125"/>
                <a:gd name="connsiteX21" fmla="*/ 806450 w 1816100"/>
                <a:gd name="connsiteY21" fmla="*/ 790575 h 1254125"/>
                <a:gd name="connsiteX22" fmla="*/ 742950 w 1816100"/>
                <a:gd name="connsiteY22" fmla="*/ 812800 h 1254125"/>
                <a:gd name="connsiteX23" fmla="*/ 692150 w 1816100"/>
                <a:gd name="connsiteY23" fmla="*/ 857250 h 1254125"/>
                <a:gd name="connsiteX24" fmla="*/ 663575 w 1816100"/>
                <a:gd name="connsiteY24" fmla="*/ 873125 h 1254125"/>
                <a:gd name="connsiteX25" fmla="*/ 631825 w 1816100"/>
                <a:gd name="connsiteY25" fmla="*/ 869950 h 1254125"/>
                <a:gd name="connsiteX26" fmla="*/ 612775 w 1816100"/>
                <a:gd name="connsiteY26" fmla="*/ 901700 h 1254125"/>
                <a:gd name="connsiteX27" fmla="*/ 587375 w 1816100"/>
                <a:gd name="connsiteY27" fmla="*/ 892175 h 1254125"/>
                <a:gd name="connsiteX28" fmla="*/ 571500 w 1816100"/>
                <a:gd name="connsiteY28" fmla="*/ 895350 h 1254125"/>
                <a:gd name="connsiteX29" fmla="*/ 536575 w 1816100"/>
                <a:gd name="connsiteY29" fmla="*/ 936625 h 1254125"/>
                <a:gd name="connsiteX30" fmla="*/ 428625 w 1816100"/>
                <a:gd name="connsiteY30" fmla="*/ 936625 h 1254125"/>
                <a:gd name="connsiteX31" fmla="*/ 415925 w 1816100"/>
                <a:gd name="connsiteY31" fmla="*/ 968375 h 1254125"/>
                <a:gd name="connsiteX32" fmla="*/ 393700 w 1816100"/>
                <a:gd name="connsiteY32" fmla="*/ 965200 h 1254125"/>
                <a:gd name="connsiteX33" fmla="*/ 377825 w 1816100"/>
                <a:gd name="connsiteY33" fmla="*/ 993775 h 1254125"/>
                <a:gd name="connsiteX34" fmla="*/ 346075 w 1816100"/>
                <a:gd name="connsiteY34" fmla="*/ 993775 h 1254125"/>
                <a:gd name="connsiteX35" fmla="*/ 330200 w 1816100"/>
                <a:gd name="connsiteY35" fmla="*/ 996950 h 1254125"/>
                <a:gd name="connsiteX36" fmla="*/ 317500 w 1816100"/>
                <a:gd name="connsiteY36" fmla="*/ 1019175 h 1254125"/>
                <a:gd name="connsiteX37" fmla="*/ 276225 w 1816100"/>
                <a:gd name="connsiteY37" fmla="*/ 1009650 h 1254125"/>
                <a:gd name="connsiteX38" fmla="*/ 257175 w 1816100"/>
                <a:gd name="connsiteY38" fmla="*/ 1035050 h 1254125"/>
                <a:gd name="connsiteX39" fmla="*/ 250825 w 1816100"/>
                <a:gd name="connsiteY39" fmla="*/ 1050925 h 1254125"/>
                <a:gd name="connsiteX40" fmla="*/ 177800 w 1816100"/>
                <a:gd name="connsiteY40" fmla="*/ 1069975 h 1254125"/>
                <a:gd name="connsiteX41" fmla="*/ 127000 w 1816100"/>
                <a:gd name="connsiteY41" fmla="*/ 1098550 h 1254125"/>
                <a:gd name="connsiteX42" fmla="*/ 82550 w 1816100"/>
                <a:gd name="connsiteY42" fmla="*/ 1177925 h 1254125"/>
                <a:gd name="connsiteX43" fmla="*/ 63500 w 1816100"/>
                <a:gd name="connsiteY43" fmla="*/ 1193800 h 1254125"/>
                <a:gd name="connsiteX44" fmla="*/ 31750 w 1816100"/>
                <a:gd name="connsiteY44" fmla="*/ 1225550 h 1254125"/>
                <a:gd name="connsiteX45" fmla="*/ 0 w 1816100"/>
                <a:gd name="connsiteY45" fmla="*/ 1254125 h 1254125"/>
                <a:gd name="connsiteX0" fmla="*/ 1816100 w 1816100"/>
                <a:gd name="connsiteY0" fmla="*/ 0 h 1254125"/>
                <a:gd name="connsiteX1" fmla="*/ 1579565 w 1816100"/>
                <a:gd name="connsiteY1" fmla="*/ 553510 h 1254125"/>
                <a:gd name="connsiteX2" fmla="*/ 1554165 w 1816100"/>
                <a:gd name="connsiteY2" fmla="*/ 632885 h 1254125"/>
                <a:gd name="connsiteX3" fmla="*/ 1436690 w 1816100"/>
                <a:gd name="connsiteY3" fmla="*/ 677335 h 1254125"/>
                <a:gd name="connsiteX4" fmla="*/ 1327150 w 1816100"/>
                <a:gd name="connsiteY4" fmla="*/ 711200 h 1254125"/>
                <a:gd name="connsiteX5" fmla="*/ 1285875 w 1816100"/>
                <a:gd name="connsiteY5" fmla="*/ 714375 h 1254125"/>
                <a:gd name="connsiteX6" fmla="*/ 1260475 w 1816100"/>
                <a:gd name="connsiteY6" fmla="*/ 714375 h 1254125"/>
                <a:gd name="connsiteX7" fmla="*/ 1241425 w 1816100"/>
                <a:gd name="connsiteY7" fmla="*/ 714375 h 1254125"/>
                <a:gd name="connsiteX8" fmla="*/ 1225550 w 1816100"/>
                <a:gd name="connsiteY8" fmla="*/ 698500 h 1254125"/>
                <a:gd name="connsiteX9" fmla="*/ 1203325 w 1816100"/>
                <a:gd name="connsiteY9" fmla="*/ 698500 h 1254125"/>
                <a:gd name="connsiteX10" fmla="*/ 1174750 w 1816100"/>
                <a:gd name="connsiteY10" fmla="*/ 698500 h 1254125"/>
                <a:gd name="connsiteX11" fmla="*/ 1155700 w 1816100"/>
                <a:gd name="connsiteY11" fmla="*/ 733425 h 1254125"/>
                <a:gd name="connsiteX12" fmla="*/ 1120775 w 1816100"/>
                <a:gd name="connsiteY12" fmla="*/ 723900 h 1254125"/>
                <a:gd name="connsiteX13" fmla="*/ 1079500 w 1816100"/>
                <a:gd name="connsiteY13" fmla="*/ 723900 h 1254125"/>
                <a:gd name="connsiteX14" fmla="*/ 1079500 w 1816100"/>
                <a:gd name="connsiteY14" fmla="*/ 723900 h 1254125"/>
                <a:gd name="connsiteX15" fmla="*/ 1025525 w 1816100"/>
                <a:gd name="connsiteY15" fmla="*/ 723900 h 1254125"/>
                <a:gd name="connsiteX16" fmla="*/ 1000125 w 1816100"/>
                <a:gd name="connsiteY16" fmla="*/ 736600 h 1254125"/>
                <a:gd name="connsiteX17" fmla="*/ 958850 w 1816100"/>
                <a:gd name="connsiteY17" fmla="*/ 730250 h 1254125"/>
                <a:gd name="connsiteX18" fmla="*/ 927100 w 1816100"/>
                <a:gd name="connsiteY18" fmla="*/ 749300 h 1254125"/>
                <a:gd name="connsiteX19" fmla="*/ 879475 w 1816100"/>
                <a:gd name="connsiteY19" fmla="*/ 752475 h 1254125"/>
                <a:gd name="connsiteX20" fmla="*/ 850900 w 1816100"/>
                <a:gd name="connsiteY20" fmla="*/ 787400 h 1254125"/>
                <a:gd name="connsiteX21" fmla="*/ 806450 w 1816100"/>
                <a:gd name="connsiteY21" fmla="*/ 790575 h 1254125"/>
                <a:gd name="connsiteX22" fmla="*/ 742950 w 1816100"/>
                <a:gd name="connsiteY22" fmla="*/ 812800 h 1254125"/>
                <a:gd name="connsiteX23" fmla="*/ 692150 w 1816100"/>
                <a:gd name="connsiteY23" fmla="*/ 857250 h 1254125"/>
                <a:gd name="connsiteX24" fmla="*/ 663575 w 1816100"/>
                <a:gd name="connsiteY24" fmla="*/ 873125 h 1254125"/>
                <a:gd name="connsiteX25" fmla="*/ 631825 w 1816100"/>
                <a:gd name="connsiteY25" fmla="*/ 869950 h 1254125"/>
                <a:gd name="connsiteX26" fmla="*/ 612775 w 1816100"/>
                <a:gd name="connsiteY26" fmla="*/ 901700 h 1254125"/>
                <a:gd name="connsiteX27" fmla="*/ 587375 w 1816100"/>
                <a:gd name="connsiteY27" fmla="*/ 892175 h 1254125"/>
                <a:gd name="connsiteX28" fmla="*/ 571500 w 1816100"/>
                <a:gd name="connsiteY28" fmla="*/ 895350 h 1254125"/>
                <a:gd name="connsiteX29" fmla="*/ 536575 w 1816100"/>
                <a:gd name="connsiteY29" fmla="*/ 936625 h 1254125"/>
                <a:gd name="connsiteX30" fmla="*/ 428625 w 1816100"/>
                <a:gd name="connsiteY30" fmla="*/ 936625 h 1254125"/>
                <a:gd name="connsiteX31" fmla="*/ 415925 w 1816100"/>
                <a:gd name="connsiteY31" fmla="*/ 968375 h 1254125"/>
                <a:gd name="connsiteX32" fmla="*/ 393700 w 1816100"/>
                <a:gd name="connsiteY32" fmla="*/ 965200 h 1254125"/>
                <a:gd name="connsiteX33" fmla="*/ 377825 w 1816100"/>
                <a:gd name="connsiteY33" fmla="*/ 993775 h 1254125"/>
                <a:gd name="connsiteX34" fmla="*/ 346075 w 1816100"/>
                <a:gd name="connsiteY34" fmla="*/ 993775 h 1254125"/>
                <a:gd name="connsiteX35" fmla="*/ 330200 w 1816100"/>
                <a:gd name="connsiteY35" fmla="*/ 996950 h 1254125"/>
                <a:gd name="connsiteX36" fmla="*/ 317500 w 1816100"/>
                <a:gd name="connsiteY36" fmla="*/ 1019175 h 1254125"/>
                <a:gd name="connsiteX37" fmla="*/ 276225 w 1816100"/>
                <a:gd name="connsiteY37" fmla="*/ 1009650 h 1254125"/>
                <a:gd name="connsiteX38" fmla="*/ 257175 w 1816100"/>
                <a:gd name="connsiteY38" fmla="*/ 1035050 h 1254125"/>
                <a:gd name="connsiteX39" fmla="*/ 250825 w 1816100"/>
                <a:gd name="connsiteY39" fmla="*/ 1050925 h 1254125"/>
                <a:gd name="connsiteX40" fmla="*/ 177800 w 1816100"/>
                <a:gd name="connsiteY40" fmla="*/ 1069975 h 1254125"/>
                <a:gd name="connsiteX41" fmla="*/ 127000 w 1816100"/>
                <a:gd name="connsiteY41" fmla="*/ 1098550 h 1254125"/>
                <a:gd name="connsiteX42" fmla="*/ 82550 w 1816100"/>
                <a:gd name="connsiteY42" fmla="*/ 1177925 h 1254125"/>
                <a:gd name="connsiteX43" fmla="*/ 63500 w 1816100"/>
                <a:gd name="connsiteY43" fmla="*/ 1193800 h 1254125"/>
                <a:gd name="connsiteX44" fmla="*/ 31750 w 1816100"/>
                <a:gd name="connsiteY44" fmla="*/ 1225550 h 1254125"/>
                <a:gd name="connsiteX45" fmla="*/ 0 w 1816100"/>
                <a:gd name="connsiteY45" fmla="*/ 1254125 h 1254125"/>
                <a:gd name="connsiteX0" fmla="*/ 1816100 w 1816100"/>
                <a:gd name="connsiteY0" fmla="*/ 0 h 1254125"/>
                <a:gd name="connsiteX1" fmla="*/ 1579565 w 1816100"/>
                <a:gd name="connsiteY1" fmla="*/ 553510 h 1254125"/>
                <a:gd name="connsiteX2" fmla="*/ 1589090 w 1816100"/>
                <a:gd name="connsiteY2" fmla="*/ 610660 h 1254125"/>
                <a:gd name="connsiteX3" fmla="*/ 1436690 w 1816100"/>
                <a:gd name="connsiteY3" fmla="*/ 677335 h 1254125"/>
                <a:gd name="connsiteX4" fmla="*/ 1327150 w 1816100"/>
                <a:gd name="connsiteY4" fmla="*/ 711200 h 1254125"/>
                <a:gd name="connsiteX5" fmla="*/ 1285875 w 1816100"/>
                <a:gd name="connsiteY5" fmla="*/ 714375 h 1254125"/>
                <a:gd name="connsiteX6" fmla="*/ 1260475 w 1816100"/>
                <a:gd name="connsiteY6" fmla="*/ 714375 h 1254125"/>
                <a:gd name="connsiteX7" fmla="*/ 1241425 w 1816100"/>
                <a:gd name="connsiteY7" fmla="*/ 714375 h 1254125"/>
                <a:gd name="connsiteX8" fmla="*/ 1225550 w 1816100"/>
                <a:gd name="connsiteY8" fmla="*/ 698500 h 1254125"/>
                <a:gd name="connsiteX9" fmla="*/ 1203325 w 1816100"/>
                <a:gd name="connsiteY9" fmla="*/ 698500 h 1254125"/>
                <a:gd name="connsiteX10" fmla="*/ 1174750 w 1816100"/>
                <a:gd name="connsiteY10" fmla="*/ 698500 h 1254125"/>
                <a:gd name="connsiteX11" fmla="*/ 1155700 w 1816100"/>
                <a:gd name="connsiteY11" fmla="*/ 733425 h 1254125"/>
                <a:gd name="connsiteX12" fmla="*/ 1120775 w 1816100"/>
                <a:gd name="connsiteY12" fmla="*/ 723900 h 1254125"/>
                <a:gd name="connsiteX13" fmla="*/ 1079500 w 1816100"/>
                <a:gd name="connsiteY13" fmla="*/ 723900 h 1254125"/>
                <a:gd name="connsiteX14" fmla="*/ 1079500 w 1816100"/>
                <a:gd name="connsiteY14" fmla="*/ 723900 h 1254125"/>
                <a:gd name="connsiteX15" fmla="*/ 1025525 w 1816100"/>
                <a:gd name="connsiteY15" fmla="*/ 723900 h 1254125"/>
                <a:gd name="connsiteX16" fmla="*/ 1000125 w 1816100"/>
                <a:gd name="connsiteY16" fmla="*/ 736600 h 1254125"/>
                <a:gd name="connsiteX17" fmla="*/ 958850 w 1816100"/>
                <a:gd name="connsiteY17" fmla="*/ 730250 h 1254125"/>
                <a:gd name="connsiteX18" fmla="*/ 927100 w 1816100"/>
                <a:gd name="connsiteY18" fmla="*/ 749300 h 1254125"/>
                <a:gd name="connsiteX19" fmla="*/ 879475 w 1816100"/>
                <a:gd name="connsiteY19" fmla="*/ 752475 h 1254125"/>
                <a:gd name="connsiteX20" fmla="*/ 850900 w 1816100"/>
                <a:gd name="connsiteY20" fmla="*/ 787400 h 1254125"/>
                <a:gd name="connsiteX21" fmla="*/ 806450 w 1816100"/>
                <a:gd name="connsiteY21" fmla="*/ 790575 h 1254125"/>
                <a:gd name="connsiteX22" fmla="*/ 742950 w 1816100"/>
                <a:gd name="connsiteY22" fmla="*/ 812800 h 1254125"/>
                <a:gd name="connsiteX23" fmla="*/ 692150 w 1816100"/>
                <a:gd name="connsiteY23" fmla="*/ 857250 h 1254125"/>
                <a:gd name="connsiteX24" fmla="*/ 663575 w 1816100"/>
                <a:gd name="connsiteY24" fmla="*/ 873125 h 1254125"/>
                <a:gd name="connsiteX25" fmla="*/ 631825 w 1816100"/>
                <a:gd name="connsiteY25" fmla="*/ 869950 h 1254125"/>
                <a:gd name="connsiteX26" fmla="*/ 612775 w 1816100"/>
                <a:gd name="connsiteY26" fmla="*/ 901700 h 1254125"/>
                <a:gd name="connsiteX27" fmla="*/ 587375 w 1816100"/>
                <a:gd name="connsiteY27" fmla="*/ 892175 h 1254125"/>
                <a:gd name="connsiteX28" fmla="*/ 571500 w 1816100"/>
                <a:gd name="connsiteY28" fmla="*/ 895350 h 1254125"/>
                <a:gd name="connsiteX29" fmla="*/ 536575 w 1816100"/>
                <a:gd name="connsiteY29" fmla="*/ 936625 h 1254125"/>
                <a:gd name="connsiteX30" fmla="*/ 428625 w 1816100"/>
                <a:gd name="connsiteY30" fmla="*/ 936625 h 1254125"/>
                <a:gd name="connsiteX31" fmla="*/ 415925 w 1816100"/>
                <a:gd name="connsiteY31" fmla="*/ 968375 h 1254125"/>
                <a:gd name="connsiteX32" fmla="*/ 393700 w 1816100"/>
                <a:gd name="connsiteY32" fmla="*/ 965200 h 1254125"/>
                <a:gd name="connsiteX33" fmla="*/ 377825 w 1816100"/>
                <a:gd name="connsiteY33" fmla="*/ 993775 h 1254125"/>
                <a:gd name="connsiteX34" fmla="*/ 346075 w 1816100"/>
                <a:gd name="connsiteY34" fmla="*/ 993775 h 1254125"/>
                <a:gd name="connsiteX35" fmla="*/ 330200 w 1816100"/>
                <a:gd name="connsiteY35" fmla="*/ 996950 h 1254125"/>
                <a:gd name="connsiteX36" fmla="*/ 317500 w 1816100"/>
                <a:gd name="connsiteY36" fmla="*/ 1019175 h 1254125"/>
                <a:gd name="connsiteX37" fmla="*/ 276225 w 1816100"/>
                <a:gd name="connsiteY37" fmla="*/ 1009650 h 1254125"/>
                <a:gd name="connsiteX38" fmla="*/ 257175 w 1816100"/>
                <a:gd name="connsiteY38" fmla="*/ 1035050 h 1254125"/>
                <a:gd name="connsiteX39" fmla="*/ 250825 w 1816100"/>
                <a:gd name="connsiteY39" fmla="*/ 1050925 h 1254125"/>
                <a:gd name="connsiteX40" fmla="*/ 177800 w 1816100"/>
                <a:gd name="connsiteY40" fmla="*/ 1069975 h 1254125"/>
                <a:gd name="connsiteX41" fmla="*/ 127000 w 1816100"/>
                <a:gd name="connsiteY41" fmla="*/ 1098550 h 1254125"/>
                <a:gd name="connsiteX42" fmla="*/ 82550 w 1816100"/>
                <a:gd name="connsiteY42" fmla="*/ 1177925 h 1254125"/>
                <a:gd name="connsiteX43" fmla="*/ 63500 w 1816100"/>
                <a:gd name="connsiteY43" fmla="*/ 1193800 h 1254125"/>
                <a:gd name="connsiteX44" fmla="*/ 31750 w 1816100"/>
                <a:gd name="connsiteY44" fmla="*/ 1225550 h 1254125"/>
                <a:gd name="connsiteX45" fmla="*/ 0 w 1816100"/>
                <a:gd name="connsiteY45" fmla="*/ 1254125 h 1254125"/>
                <a:gd name="connsiteX0" fmla="*/ 1816100 w 1816100"/>
                <a:gd name="connsiteY0" fmla="*/ 0 h 1254125"/>
                <a:gd name="connsiteX1" fmla="*/ 1636715 w 1816100"/>
                <a:gd name="connsiteY1" fmla="*/ 382060 h 1254125"/>
                <a:gd name="connsiteX2" fmla="*/ 1579565 w 1816100"/>
                <a:gd name="connsiteY2" fmla="*/ 553510 h 1254125"/>
                <a:gd name="connsiteX3" fmla="*/ 1589090 w 1816100"/>
                <a:gd name="connsiteY3" fmla="*/ 610660 h 1254125"/>
                <a:gd name="connsiteX4" fmla="*/ 1436690 w 1816100"/>
                <a:gd name="connsiteY4" fmla="*/ 677335 h 1254125"/>
                <a:gd name="connsiteX5" fmla="*/ 1327150 w 1816100"/>
                <a:gd name="connsiteY5" fmla="*/ 711200 h 1254125"/>
                <a:gd name="connsiteX6" fmla="*/ 1285875 w 1816100"/>
                <a:gd name="connsiteY6" fmla="*/ 714375 h 1254125"/>
                <a:gd name="connsiteX7" fmla="*/ 1260475 w 1816100"/>
                <a:gd name="connsiteY7" fmla="*/ 714375 h 1254125"/>
                <a:gd name="connsiteX8" fmla="*/ 1241425 w 1816100"/>
                <a:gd name="connsiteY8" fmla="*/ 714375 h 1254125"/>
                <a:gd name="connsiteX9" fmla="*/ 1225550 w 1816100"/>
                <a:gd name="connsiteY9" fmla="*/ 698500 h 1254125"/>
                <a:gd name="connsiteX10" fmla="*/ 1203325 w 1816100"/>
                <a:gd name="connsiteY10" fmla="*/ 698500 h 1254125"/>
                <a:gd name="connsiteX11" fmla="*/ 1174750 w 1816100"/>
                <a:gd name="connsiteY11" fmla="*/ 698500 h 1254125"/>
                <a:gd name="connsiteX12" fmla="*/ 1155700 w 1816100"/>
                <a:gd name="connsiteY12" fmla="*/ 733425 h 1254125"/>
                <a:gd name="connsiteX13" fmla="*/ 1120775 w 1816100"/>
                <a:gd name="connsiteY13" fmla="*/ 723900 h 1254125"/>
                <a:gd name="connsiteX14" fmla="*/ 1079500 w 1816100"/>
                <a:gd name="connsiteY14" fmla="*/ 723900 h 1254125"/>
                <a:gd name="connsiteX15" fmla="*/ 1079500 w 1816100"/>
                <a:gd name="connsiteY15" fmla="*/ 723900 h 1254125"/>
                <a:gd name="connsiteX16" fmla="*/ 1025525 w 1816100"/>
                <a:gd name="connsiteY16" fmla="*/ 723900 h 1254125"/>
                <a:gd name="connsiteX17" fmla="*/ 1000125 w 1816100"/>
                <a:gd name="connsiteY17" fmla="*/ 736600 h 1254125"/>
                <a:gd name="connsiteX18" fmla="*/ 958850 w 1816100"/>
                <a:gd name="connsiteY18" fmla="*/ 730250 h 1254125"/>
                <a:gd name="connsiteX19" fmla="*/ 927100 w 1816100"/>
                <a:gd name="connsiteY19" fmla="*/ 749300 h 1254125"/>
                <a:gd name="connsiteX20" fmla="*/ 879475 w 1816100"/>
                <a:gd name="connsiteY20" fmla="*/ 752475 h 1254125"/>
                <a:gd name="connsiteX21" fmla="*/ 850900 w 1816100"/>
                <a:gd name="connsiteY21" fmla="*/ 787400 h 1254125"/>
                <a:gd name="connsiteX22" fmla="*/ 806450 w 1816100"/>
                <a:gd name="connsiteY22" fmla="*/ 790575 h 1254125"/>
                <a:gd name="connsiteX23" fmla="*/ 742950 w 1816100"/>
                <a:gd name="connsiteY23" fmla="*/ 812800 h 1254125"/>
                <a:gd name="connsiteX24" fmla="*/ 692150 w 1816100"/>
                <a:gd name="connsiteY24" fmla="*/ 857250 h 1254125"/>
                <a:gd name="connsiteX25" fmla="*/ 663575 w 1816100"/>
                <a:gd name="connsiteY25" fmla="*/ 873125 h 1254125"/>
                <a:gd name="connsiteX26" fmla="*/ 631825 w 1816100"/>
                <a:gd name="connsiteY26" fmla="*/ 869950 h 1254125"/>
                <a:gd name="connsiteX27" fmla="*/ 612775 w 1816100"/>
                <a:gd name="connsiteY27" fmla="*/ 901700 h 1254125"/>
                <a:gd name="connsiteX28" fmla="*/ 587375 w 1816100"/>
                <a:gd name="connsiteY28" fmla="*/ 892175 h 1254125"/>
                <a:gd name="connsiteX29" fmla="*/ 571500 w 1816100"/>
                <a:gd name="connsiteY29" fmla="*/ 895350 h 1254125"/>
                <a:gd name="connsiteX30" fmla="*/ 536575 w 1816100"/>
                <a:gd name="connsiteY30" fmla="*/ 936625 h 1254125"/>
                <a:gd name="connsiteX31" fmla="*/ 428625 w 1816100"/>
                <a:gd name="connsiteY31" fmla="*/ 936625 h 1254125"/>
                <a:gd name="connsiteX32" fmla="*/ 415925 w 1816100"/>
                <a:gd name="connsiteY32" fmla="*/ 968375 h 1254125"/>
                <a:gd name="connsiteX33" fmla="*/ 393700 w 1816100"/>
                <a:gd name="connsiteY33" fmla="*/ 965200 h 1254125"/>
                <a:gd name="connsiteX34" fmla="*/ 377825 w 1816100"/>
                <a:gd name="connsiteY34" fmla="*/ 993775 h 1254125"/>
                <a:gd name="connsiteX35" fmla="*/ 346075 w 1816100"/>
                <a:gd name="connsiteY35" fmla="*/ 993775 h 1254125"/>
                <a:gd name="connsiteX36" fmla="*/ 330200 w 1816100"/>
                <a:gd name="connsiteY36" fmla="*/ 996950 h 1254125"/>
                <a:gd name="connsiteX37" fmla="*/ 317500 w 1816100"/>
                <a:gd name="connsiteY37" fmla="*/ 1019175 h 1254125"/>
                <a:gd name="connsiteX38" fmla="*/ 276225 w 1816100"/>
                <a:gd name="connsiteY38" fmla="*/ 1009650 h 1254125"/>
                <a:gd name="connsiteX39" fmla="*/ 257175 w 1816100"/>
                <a:gd name="connsiteY39" fmla="*/ 1035050 h 1254125"/>
                <a:gd name="connsiteX40" fmla="*/ 250825 w 1816100"/>
                <a:gd name="connsiteY40" fmla="*/ 1050925 h 1254125"/>
                <a:gd name="connsiteX41" fmla="*/ 177800 w 1816100"/>
                <a:gd name="connsiteY41" fmla="*/ 1069975 h 1254125"/>
                <a:gd name="connsiteX42" fmla="*/ 127000 w 1816100"/>
                <a:gd name="connsiteY42" fmla="*/ 1098550 h 1254125"/>
                <a:gd name="connsiteX43" fmla="*/ 82550 w 1816100"/>
                <a:gd name="connsiteY43" fmla="*/ 1177925 h 1254125"/>
                <a:gd name="connsiteX44" fmla="*/ 63500 w 1816100"/>
                <a:gd name="connsiteY44" fmla="*/ 1193800 h 1254125"/>
                <a:gd name="connsiteX45" fmla="*/ 31750 w 1816100"/>
                <a:gd name="connsiteY45" fmla="*/ 1225550 h 1254125"/>
                <a:gd name="connsiteX46" fmla="*/ 0 w 1816100"/>
                <a:gd name="connsiteY46" fmla="*/ 1254125 h 1254125"/>
                <a:gd name="connsiteX0" fmla="*/ 1816100 w 1816100"/>
                <a:gd name="connsiteY0" fmla="*/ 0 h 1254125"/>
                <a:gd name="connsiteX1" fmla="*/ 1662115 w 1816100"/>
                <a:gd name="connsiteY1" fmla="*/ 223310 h 1254125"/>
                <a:gd name="connsiteX2" fmla="*/ 1636715 w 1816100"/>
                <a:gd name="connsiteY2" fmla="*/ 382060 h 1254125"/>
                <a:gd name="connsiteX3" fmla="*/ 1579565 w 1816100"/>
                <a:gd name="connsiteY3" fmla="*/ 553510 h 1254125"/>
                <a:gd name="connsiteX4" fmla="*/ 1589090 w 1816100"/>
                <a:gd name="connsiteY4" fmla="*/ 610660 h 1254125"/>
                <a:gd name="connsiteX5" fmla="*/ 1436690 w 1816100"/>
                <a:gd name="connsiteY5" fmla="*/ 677335 h 1254125"/>
                <a:gd name="connsiteX6" fmla="*/ 1327150 w 1816100"/>
                <a:gd name="connsiteY6" fmla="*/ 711200 h 1254125"/>
                <a:gd name="connsiteX7" fmla="*/ 1285875 w 1816100"/>
                <a:gd name="connsiteY7" fmla="*/ 714375 h 1254125"/>
                <a:gd name="connsiteX8" fmla="*/ 1260475 w 1816100"/>
                <a:gd name="connsiteY8" fmla="*/ 714375 h 1254125"/>
                <a:gd name="connsiteX9" fmla="*/ 1241425 w 1816100"/>
                <a:gd name="connsiteY9" fmla="*/ 714375 h 1254125"/>
                <a:gd name="connsiteX10" fmla="*/ 1225550 w 1816100"/>
                <a:gd name="connsiteY10" fmla="*/ 698500 h 1254125"/>
                <a:gd name="connsiteX11" fmla="*/ 1203325 w 1816100"/>
                <a:gd name="connsiteY11" fmla="*/ 698500 h 1254125"/>
                <a:gd name="connsiteX12" fmla="*/ 1174750 w 1816100"/>
                <a:gd name="connsiteY12" fmla="*/ 698500 h 1254125"/>
                <a:gd name="connsiteX13" fmla="*/ 1155700 w 1816100"/>
                <a:gd name="connsiteY13" fmla="*/ 733425 h 1254125"/>
                <a:gd name="connsiteX14" fmla="*/ 1120775 w 1816100"/>
                <a:gd name="connsiteY14" fmla="*/ 723900 h 1254125"/>
                <a:gd name="connsiteX15" fmla="*/ 1079500 w 1816100"/>
                <a:gd name="connsiteY15" fmla="*/ 723900 h 1254125"/>
                <a:gd name="connsiteX16" fmla="*/ 1079500 w 1816100"/>
                <a:gd name="connsiteY16" fmla="*/ 723900 h 1254125"/>
                <a:gd name="connsiteX17" fmla="*/ 1025525 w 1816100"/>
                <a:gd name="connsiteY17" fmla="*/ 723900 h 1254125"/>
                <a:gd name="connsiteX18" fmla="*/ 1000125 w 1816100"/>
                <a:gd name="connsiteY18" fmla="*/ 736600 h 1254125"/>
                <a:gd name="connsiteX19" fmla="*/ 958850 w 1816100"/>
                <a:gd name="connsiteY19" fmla="*/ 730250 h 1254125"/>
                <a:gd name="connsiteX20" fmla="*/ 927100 w 1816100"/>
                <a:gd name="connsiteY20" fmla="*/ 749300 h 1254125"/>
                <a:gd name="connsiteX21" fmla="*/ 879475 w 1816100"/>
                <a:gd name="connsiteY21" fmla="*/ 752475 h 1254125"/>
                <a:gd name="connsiteX22" fmla="*/ 850900 w 1816100"/>
                <a:gd name="connsiteY22" fmla="*/ 787400 h 1254125"/>
                <a:gd name="connsiteX23" fmla="*/ 806450 w 1816100"/>
                <a:gd name="connsiteY23" fmla="*/ 790575 h 1254125"/>
                <a:gd name="connsiteX24" fmla="*/ 742950 w 1816100"/>
                <a:gd name="connsiteY24" fmla="*/ 812800 h 1254125"/>
                <a:gd name="connsiteX25" fmla="*/ 692150 w 1816100"/>
                <a:gd name="connsiteY25" fmla="*/ 857250 h 1254125"/>
                <a:gd name="connsiteX26" fmla="*/ 663575 w 1816100"/>
                <a:gd name="connsiteY26" fmla="*/ 873125 h 1254125"/>
                <a:gd name="connsiteX27" fmla="*/ 631825 w 1816100"/>
                <a:gd name="connsiteY27" fmla="*/ 869950 h 1254125"/>
                <a:gd name="connsiteX28" fmla="*/ 612775 w 1816100"/>
                <a:gd name="connsiteY28" fmla="*/ 901700 h 1254125"/>
                <a:gd name="connsiteX29" fmla="*/ 587375 w 1816100"/>
                <a:gd name="connsiteY29" fmla="*/ 892175 h 1254125"/>
                <a:gd name="connsiteX30" fmla="*/ 571500 w 1816100"/>
                <a:gd name="connsiteY30" fmla="*/ 895350 h 1254125"/>
                <a:gd name="connsiteX31" fmla="*/ 536575 w 1816100"/>
                <a:gd name="connsiteY31" fmla="*/ 936625 h 1254125"/>
                <a:gd name="connsiteX32" fmla="*/ 428625 w 1816100"/>
                <a:gd name="connsiteY32" fmla="*/ 936625 h 1254125"/>
                <a:gd name="connsiteX33" fmla="*/ 415925 w 1816100"/>
                <a:gd name="connsiteY33" fmla="*/ 968375 h 1254125"/>
                <a:gd name="connsiteX34" fmla="*/ 393700 w 1816100"/>
                <a:gd name="connsiteY34" fmla="*/ 965200 h 1254125"/>
                <a:gd name="connsiteX35" fmla="*/ 377825 w 1816100"/>
                <a:gd name="connsiteY35" fmla="*/ 993775 h 1254125"/>
                <a:gd name="connsiteX36" fmla="*/ 346075 w 1816100"/>
                <a:gd name="connsiteY36" fmla="*/ 993775 h 1254125"/>
                <a:gd name="connsiteX37" fmla="*/ 330200 w 1816100"/>
                <a:gd name="connsiteY37" fmla="*/ 996950 h 1254125"/>
                <a:gd name="connsiteX38" fmla="*/ 317500 w 1816100"/>
                <a:gd name="connsiteY38" fmla="*/ 1019175 h 1254125"/>
                <a:gd name="connsiteX39" fmla="*/ 276225 w 1816100"/>
                <a:gd name="connsiteY39" fmla="*/ 1009650 h 1254125"/>
                <a:gd name="connsiteX40" fmla="*/ 257175 w 1816100"/>
                <a:gd name="connsiteY40" fmla="*/ 1035050 h 1254125"/>
                <a:gd name="connsiteX41" fmla="*/ 250825 w 1816100"/>
                <a:gd name="connsiteY41" fmla="*/ 1050925 h 1254125"/>
                <a:gd name="connsiteX42" fmla="*/ 177800 w 1816100"/>
                <a:gd name="connsiteY42" fmla="*/ 1069975 h 1254125"/>
                <a:gd name="connsiteX43" fmla="*/ 127000 w 1816100"/>
                <a:gd name="connsiteY43" fmla="*/ 1098550 h 1254125"/>
                <a:gd name="connsiteX44" fmla="*/ 82550 w 1816100"/>
                <a:gd name="connsiteY44" fmla="*/ 1177925 h 1254125"/>
                <a:gd name="connsiteX45" fmla="*/ 63500 w 1816100"/>
                <a:gd name="connsiteY45" fmla="*/ 1193800 h 1254125"/>
                <a:gd name="connsiteX46" fmla="*/ 31750 w 1816100"/>
                <a:gd name="connsiteY46" fmla="*/ 1225550 h 1254125"/>
                <a:gd name="connsiteX47" fmla="*/ 0 w 1816100"/>
                <a:gd name="connsiteY47" fmla="*/ 1254125 h 1254125"/>
                <a:gd name="connsiteX0" fmla="*/ 1816100 w 1816100"/>
                <a:gd name="connsiteY0" fmla="*/ 0 h 1254125"/>
                <a:gd name="connsiteX1" fmla="*/ 1760540 w 1816100"/>
                <a:gd name="connsiteY1" fmla="*/ 115360 h 1254125"/>
                <a:gd name="connsiteX2" fmla="*/ 1662115 w 1816100"/>
                <a:gd name="connsiteY2" fmla="*/ 223310 h 1254125"/>
                <a:gd name="connsiteX3" fmla="*/ 1636715 w 1816100"/>
                <a:gd name="connsiteY3" fmla="*/ 382060 h 1254125"/>
                <a:gd name="connsiteX4" fmla="*/ 1579565 w 1816100"/>
                <a:gd name="connsiteY4" fmla="*/ 553510 h 1254125"/>
                <a:gd name="connsiteX5" fmla="*/ 1589090 w 1816100"/>
                <a:gd name="connsiteY5" fmla="*/ 610660 h 1254125"/>
                <a:gd name="connsiteX6" fmla="*/ 1436690 w 1816100"/>
                <a:gd name="connsiteY6" fmla="*/ 677335 h 1254125"/>
                <a:gd name="connsiteX7" fmla="*/ 1327150 w 1816100"/>
                <a:gd name="connsiteY7" fmla="*/ 711200 h 1254125"/>
                <a:gd name="connsiteX8" fmla="*/ 1285875 w 1816100"/>
                <a:gd name="connsiteY8" fmla="*/ 714375 h 1254125"/>
                <a:gd name="connsiteX9" fmla="*/ 1260475 w 1816100"/>
                <a:gd name="connsiteY9" fmla="*/ 714375 h 1254125"/>
                <a:gd name="connsiteX10" fmla="*/ 1241425 w 1816100"/>
                <a:gd name="connsiteY10" fmla="*/ 714375 h 1254125"/>
                <a:gd name="connsiteX11" fmla="*/ 1225550 w 1816100"/>
                <a:gd name="connsiteY11" fmla="*/ 698500 h 1254125"/>
                <a:gd name="connsiteX12" fmla="*/ 1203325 w 1816100"/>
                <a:gd name="connsiteY12" fmla="*/ 698500 h 1254125"/>
                <a:gd name="connsiteX13" fmla="*/ 1174750 w 1816100"/>
                <a:gd name="connsiteY13" fmla="*/ 698500 h 1254125"/>
                <a:gd name="connsiteX14" fmla="*/ 1155700 w 1816100"/>
                <a:gd name="connsiteY14" fmla="*/ 733425 h 1254125"/>
                <a:gd name="connsiteX15" fmla="*/ 1120775 w 1816100"/>
                <a:gd name="connsiteY15" fmla="*/ 723900 h 1254125"/>
                <a:gd name="connsiteX16" fmla="*/ 1079500 w 1816100"/>
                <a:gd name="connsiteY16" fmla="*/ 723900 h 1254125"/>
                <a:gd name="connsiteX17" fmla="*/ 1079500 w 1816100"/>
                <a:gd name="connsiteY17" fmla="*/ 723900 h 1254125"/>
                <a:gd name="connsiteX18" fmla="*/ 1025525 w 1816100"/>
                <a:gd name="connsiteY18" fmla="*/ 723900 h 1254125"/>
                <a:gd name="connsiteX19" fmla="*/ 1000125 w 1816100"/>
                <a:gd name="connsiteY19" fmla="*/ 736600 h 1254125"/>
                <a:gd name="connsiteX20" fmla="*/ 958850 w 1816100"/>
                <a:gd name="connsiteY20" fmla="*/ 730250 h 1254125"/>
                <a:gd name="connsiteX21" fmla="*/ 927100 w 1816100"/>
                <a:gd name="connsiteY21" fmla="*/ 749300 h 1254125"/>
                <a:gd name="connsiteX22" fmla="*/ 879475 w 1816100"/>
                <a:gd name="connsiteY22" fmla="*/ 752475 h 1254125"/>
                <a:gd name="connsiteX23" fmla="*/ 850900 w 1816100"/>
                <a:gd name="connsiteY23" fmla="*/ 787400 h 1254125"/>
                <a:gd name="connsiteX24" fmla="*/ 806450 w 1816100"/>
                <a:gd name="connsiteY24" fmla="*/ 790575 h 1254125"/>
                <a:gd name="connsiteX25" fmla="*/ 742950 w 1816100"/>
                <a:gd name="connsiteY25" fmla="*/ 812800 h 1254125"/>
                <a:gd name="connsiteX26" fmla="*/ 692150 w 1816100"/>
                <a:gd name="connsiteY26" fmla="*/ 857250 h 1254125"/>
                <a:gd name="connsiteX27" fmla="*/ 663575 w 1816100"/>
                <a:gd name="connsiteY27" fmla="*/ 873125 h 1254125"/>
                <a:gd name="connsiteX28" fmla="*/ 631825 w 1816100"/>
                <a:gd name="connsiteY28" fmla="*/ 869950 h 1254125"/>
                <a:gd name="connsiteX29" fmla="*/ 612775 w 1816100"/>
                <a:gd name="connsiteY29" fmla="*/ 901700 h 1254125"/>
                <a:gd name="connsiteX30" fmla="*/ 587375 w 1816100"/>
                <a:gd name="connsiteY30" fmla="*/ 892175 h 1254125"/>
                <a:gd name="connsiteX31" fmla="*/ 571500 w 1816100"/>
                <a:gd name="connsiteY31" fmla="*/ 895350 h 1254125"/>
                <a:gd name="connsiteX32" fmla="*/ 536575 w 1816100"/>
                <a:gd name="connsiteY32" fmla="*/ 936625 h 1254125"/>
                <a:gd name="connsiteX33" fmla="*/ 428625 w 1816100"/>
                <a:gd name="connsiteY33" fmla="*/ 936625 h 1254125"/>
                <a:gd name="connsiteX34" fmla="*/ 415925 w 1816100"/>
                <a:gd name="connsiteY34" fmla="*/ 968375 h 1254125"/>
                <a:gd name="connsiteX35" fmla="*/ 393700 w 1816100"/>
                <a:gd name="connsiteY35" fmla="*/ 965200 h 1254125"/>
                <a:gd name="connsiteX36" fmla="*/ 377825 w 1816100"/>
                <a:gd name="connsiteY36" fmla="*/ 993775 h 1254125"/>
                <a:gd name="connsiteX37" fmla="*/ 346075 w 1816100"/>
                <a:gd name="connsiteY37" fmla="*/ 993775 h 1254125"/>
                <a:gd name="connsiteX38" fmla="*/ 330200 w 1816100"/>
                <a:gd name="connsiteY38" fmla="*/ 996950 h 1254125"/>
                <a:gd name="connsiteX39" fmla="*/ 317500 w 1816100"/>
                <a:gd name="connsiteY39" fmla="*/ 1019175 h 1254125"/>
                <a:gd name="connsiteX40" fmla="*/ 276225 w 1816100"/>
                <a:gd name="connsiteY40" fmla="*/ 1009650 h 1254125"/>
                <a:gd name="connsiteX41" fmla="*/ 257175 w 1816100"/>
                <a:gd name="connsiteY41" fmla="*/ 1035050 h 1254125"/>
                <a:gd name="connsiteX42" fmla="*/ 250825 w 1816100"/>
                <a:gd name="connsiteY42" fmla="*/ 1050925 h 1254125"/>
                <a:gd name="connsiteX43" fmla="*/ 177800 w 1816100"/>
                <a:gd name="connsiteY43" fmla="*/ 1069975 h 1254125"/>
                <a:gd name="connsiteX44" fmla="*/ 127000 w 1816100"/>
                <a:gd name="connsiteY44" fmla="*/ 1098550 h 1254125"/>
                <a:gd name="connsiteX45" fmla="*/ 82550 w 1816100"/>
                <a:gd name="connsiteY45" fmla="*/ 1177925 h 1254125"/>
                <a:gd name="connsiteX46" fmla="*/ 63500 w 1816100"/>
                <a:gd name="connsiteY46" fmla="*/ 1193800 h 1254125"/>
                <a:gd name="connsiteX47" fmla="*/ 31750 w 1816100"/>
                <a:gd name="connsiteY47" fmla="*/ 1225550 h 1254125"/>
                <a:gd name="connsiteX48" fmla="*/ 0 w 1816100"/>
                <a:gd name="connsiteY48" fmla="*/ 1254125 h 1254125"/>
                <a:gd name="connsiteX0" fmla="*/ 1830388 w 1830388"/>
                <a:gd name="connsiteY0" fmla="*/ 0 h 1294606"/>
                <a:gd name="connsiteX1" fmla="*/ 1774828 w 1830388"/>
                <a:gd name="connsiteY1" fmla="*/ 115360 h 1294606"/>
                <a:gd name="connsiteX2" fmla="*/ 1676403 w 1830388"/>
                <a:gd name="connsiteY2" fmla="*/ 223310 h 1294606"/>
                <a:gd name="connsiteX3" fmla="*/ 1651003 w 1830388"/>
                <a:gd name="connsiteY3" fmla="*/ 382060 h 1294606"/>
                <a:gd name="connsiteX4" fmla="*/ 1593853 w 1830388"/>
                <a:gd name="connsiteY4" fmla="*/ 553510 h 1294606"/>
                <a:gd name="connsiteX5" fmla="*/ 1603378 w 1830388"/>
                <a:gd name="connsiteY5" fmla="*/ 610660 h 1294606"/>
                <a:gd name="connsiteX6" fmla="*/ 1450978 w 1830388"/>
                <a:gd name="connsiteY6" fmla="*/ 677335 h 1294606"/>
                <a:gd name="connsiteX7" fmla="*/ 1341438 w 1830388"/>
                <a:gd name="connsiteY7" fmla="*/ 711200 h 1294606"/>
                <a:gd name="connsiteX8" fmla="*/ 1300163 w 1830388"/>
                <a:gd name="connsiteY8" fmla="*/ 714375 h 1294606"/>
                <a:gd name="connsiteX9" fmla="*/ 1274763 w 1830388"/>
                <a:gd name="connsiteY9" fmla="*/ 714375 h 1294606"/>
                <a:gd name="connsiteX10" fmla="*/ 1255713 w 1830388"/>
                <a:gd name="connsiteY10" fmla="*/ 714375 h 1294606"/>
                <a:gd name="connsiteX11" fmla="*/ 1239838 w 1830388"/>
                <a:gd name="connsiteY11" fmla="*/ 698500 h 1294606"/>
                <a:gd name="connsiteX12" fmla="*/ 1217613 w 1830388"/>
                <a:gd name="connsiteY12" fmla="*/ 698500 h 1294606"/>
                <a:gd name="connsiteX13" fmla="*/ 1189038 w 1830388"/>
                <a:gd name="connsiteY13" fmla="*/ 698500 h 1294606"/>
                <a:gd name="connsiteX14" fmla="*/ 1169988 w 1830388"/>
                <a:gd name="connsiteY14" fmla="*/ 733425 h 1294606"/>
                <a:gd name="connsiteX15" fmla="*/ 1135063 w 1830388"/>
                <a:gd name="connsiteY15" fmla="*/ 723900 h 1294606"/>
                <a:gd name="connsiteX16" fmla="*/ 1093788 w 1830388"/>
                <a:gd name="connsiteY16" fmla="*/ 723900 h 1294606"/>
                <a:gd name="connsiteX17" fmla="*/ 1093788 w 1830388"/>
                <a:gd name="connsiteY17" fmla="*/ 723900 h 1294606"/>
                <a:gd name="connsiteX18" fmla="*/ 1039813 w 1830388"/>
                <a:gd name="connsiteY18" fmla="*/ 723900 h 1294606"/>
                <a:gd name="connsiteX19" fmla="*/ 1014413 w 1830388"/>
                <a:gd name="connsiteY19" fmla="*/ 736600 h 1294606"/>
                <a:gd name="connsiteX20" fmla="*/ 973138 w 1830388"/>
                <a:gd name="connsiteY20" fmla="*/ 730250 h 1294606"/>
                <a:gd name="connsiteX21" fmla="*/ 941388 w 1830388"/>
                <a:gd name="connsiteY21" fmla="*/ 749300 h 1294606"/>
                <a:gd name="connsiteX22" fmla="*/ 893763 w 1830388"/>
                <a:gd name="connsiteY22" fmla="*/ 752475 h 1294606"/>
                <a:gd name="connsiteX23" fmla="*/ 865188 w 1830388"/>
                <a:gd name="connsiteY23" fmla="*/ 787400 h 1294606"/>
                <a:gd name="connsiteX24" fmla="*/ 820738 w 1830388"/>
                <a:gd name="connsiteY24" fmla="*/ 790575 h 1294606"/>
                <a:gd name="connsiteX25" fmla="*/ 757238 w 1830388"/>
                <a:gd name="connsiteY25" fmla="*/ 812800 h 1294606"/>
                <a:gd name="connsiteX26" fmla="*/ 706438 w 1830388"/>
                <a:gd name="connsiteY26" fmla="*/ 857250 h 1294606"/>
                <a:gd name="connsiteX27" fmla="*/ 677863 w 1830388"/>
                <a:gd name="connsiteY27" fmla="*/ 873125 h 1294606"/>
                <a:gd name="connsiteX28" fmla="*/ 646113 w 1830388"/>
                <a:gd name="connsiteY28" fmla="*/ 869950 h 1294606"/>
                <a:gd name="connsiteX29" fmla="*/ 627063 w 1830388"/>
                <a:gd name="connsiteY29" fmla="*/ 901700 h 1294606"/>
                <a:gd name="connsiteX30" fmla="*/ 601663 w 1830388"/>
                <a:gd name="connsiteY30" fmla="*/ 892175 h 1294606"/>
                <a:gd name="connsiteX31" fmla="*/ 585788 w 1830388"/>
                <a:gd name="connsiteY31" fmla="*/ 895350 h 1294606"/>
                <a:gd name="connsiteX32" fmla="*/ 550863 w 1830388"/>
                <a:gd name="connsiteY32" fmla="*/ 936625 h 1294606"/>
                <a:gd name="connsiteX33" fmla="*/ 442913 w 1830388"/>
                <a:gd name="connsiteY33" fmla="*/ 936625 h 1294606"/>
                <a:gd name="connsiteX34" fmla="*/ 430213 w 1830388"/>
                <a:gd name="connsiteY34" fmla="*/ 968375 h 1294606"/>
                <a:gd name="connsiteX35" fmla="*/ 407988 w 1830388"/>
                <a:gd name="connsiteY35" fmla="*/ 965200 h 1294606"/>
                <a:gd name="connsiteX36" fmla="*/ 392113 w 1830388"/>
                <a:gd name="connsiteY36" fmla="*/ 993775 h 1294606"/>
                <a:gd name="connsiteX37" fmla="*/ 360363 w 1830388"/>
                <a:gd name="connsiteY37" fmla="*/ 993775 h 1294606"/>
                <a:gd name="connsiteX38" fmla="*/ 344488 w 1830388"/>
                <a:gd name="connsiteY38" fmla="*/ 996950 h 1294606"/>
                <a:gd name="connsiteX39" fmla="*/ 331788 w 1830388"/>
                <a:gd name="connsiteY39" fmla="*/ 1019175 h 1294606"/>
                <a:gd name="connsiteX40" fmla="*/ 290513 w 1830388"/>
                <a:gd name="connsiteY40" fmla="*/ 1009650 h 1294606"/>
                <a:gd name="connsiteX41" fmla="*/ 271463 w 1830388"/>
                <a:gd name="connsiteY41" fmla="*/ 1035050 h 1294606"/>
                <a:gd name="connsiteX42" fmla="*/ 265113 w 1830388"/>
                <a:gd name="connsiteY42" fmla="*/ 1050925 h 1294606"/>
                <a:gd name="connsiteX43" fmla="*/ 192088 w 1830388"/>
                <a:gd name="connsiteY43" fmla="*/ 1069975 h 1294606"/>
                <a:gd name="connsiteX44" fmla="*/ 141288 w 1830388"/>
                <a:gd name="connsiteY44" fmla="*/ 1098550 h 1294606"/>
                <a:gd name="connsiteX45" fmla="*/ 96838 w 1830388"/>
                <a:gd name="connsiteY45" fmla="*/ 1177925 h 1294606"/>
                <a:gd name="connsiteX46" fmla="*/ 77788 w 1830388"/>
                <a:gd name="connsiteY46" fmla="*/ 1193800 h 1294606"/>
                <a:gd name="connsiteX47" fmla="*/ 46038 w 1830388"/>
                <a:gd name="connsiteY47" fmla="*/ 1225550 h 1294606"/>
                <a:gd name="connsiteX48" fmla="*/ 0 w 1830388"/>
                <a:gd name="connsiteY48" fmla="*/ 1294606 h 1294606"/>
                <a:gd name="connsiteX0" fmla="*/ 1830388 w 1830388"/>
                <a:gd name="connsiteY0" fmla="*/ 0 h 1294606"/>
                <a:gd name="connsiteX1" fmla="*/ 1774828 w 1830388"/>
                <a:gd name="connsiteY1" fmla="*/ 115360 h 1294606"/>
                <a:gd name="connsiteX2" fmla="*/ 1676403 w 1830388"/>
                <a:gd name="connsiteY2" fmla="*/ 223310 h 1294606"/>
                <a:gd name="connsiteX3" fmla="*/ 1651003 w 1830388"/>
                <a:gd name="connsiteY3" fmla="*/ 382060 h 1294606"/>
                <a:gd name="connsiteX4" fmla="*/ 1593853 w 1830388"/>
                <a:gd name="connsiteY4" fmla="*/ 553510 h 1294606"/>
                <a:gd name="connsiteX5" fmla="*/ 1593853 w 1830388"/>
                <a:gd name="connsiteY5" fmla="*/ 610660 h 1294606"/>
                <a:gd name="connsiteX6" fmla="*/ 1450978 w 1830388"/>
                <a:gd name="connsiteY6" fmla="*/ 677335 h 1294606"/>
                <a:gd name="connsiteX7" fmla="*/ 1341438 w 1830388"/>
                <a:gd name="connsiteY7" fmla="*/ 711200 h 1294606"/>
                <a:gd name="connsiteX8" fmla="*/ 1300163 w 1830388"/>
                <a:gd name="connsiteY8" fmla="*/ 714375 h 1294606"/>
                <a:gd name="connsiteX9" fmla="*/ 1274763 w 1830388"/>
                <a:gd name="connsiteY9" fmla="*/ 714375 h 1294606"/>
                <a:gd name="connsiteX10" fmla="*/ 1255713 w 1830388"/>
                <a:gd name="connsiteY10" fmla="*/ 714375 h 1294606"/>
                <a:gd name="connsiteX11" fmla="*/ 1239838 w 1830388"/>
                <a:gd name="connsiteY11" fmla="*/ 698500 h 1294606"/>
                <a:gd name="connsiteX12" fmla="*/ 1217613 w 1830388"/>
                <a:gd name="connsiteY12" fmla="*/ 698500 h 1294606"/>
                <a:gd name="connsiteX13" fmla="*/ 1189038 w 1830388"/>
                <a:gd name="connsiteY13" fmla="*/ 698500 h 1294606"/>
                <a:gd name="connsiteX14" fmla="*/ 1169988 w 1830388"/>
                <a:gd name="connsiteY14" fmla="*/ 733425 h 1294606"/>
                <a:gd name="connsiteX15" fmla="*/ 1135063 w 1830388"/>
                <a:gd name="connsiteY15" fmla="*/ 723900 h 1294606"/>
                <a:gd name="connsiteX16" fmla="*/ 1093788 w 1830388"/>
                <a:gd name="connsiteY16" fmla="*/ 723900 h 1294606"/>
                <a:gd name="connsiteX17" fmla="*/ 1093788 w 1830388"/>
                <a:gd name="connsiteY17" fmla="*/ 723900 h 1294606"/>
                <a:gd name="connsiteX18" fmla="*/ 1039813 w 1830388"/>
                <a:gd name="connsiteY18" fmla="*/ 723900 h 1294606"/>
                <a:gd name="connsiteX19" fmla="*/ 1014413 w 1830388"/>
                <a:gd name="connsiteY19" fmla="*/ 736600 h 1294606"/>
                <a:gd name="connsiteX20" fmla="*/ 973138 w 1830388"/>
                <a:gd name="connsiteY20" fmla="*/ 730250 h 1294606"/>
                <a:gd name="connsiteX21" fmla="*/ 941388 w 1830388"/>
                <a:gd name="connsiteY21" fmla="*/ 749300 h 1294606"/>
                <a:gd name="connsiteX22" fmla="*/ 893763 w 1830388"/>
                <a:gd name="connsiteY22" fmla="*/ 752475 h 1294606"/>
                <a:gd name="connsiteX23" fmla="*/ 865188 w 1830388"/>
                <a:gd name="connsiteY23" fmla="*/ 787400 h 1294606"/>
                <a:gd name="connsiteX24" fmla="*/ 820738 w 1830388"/>
                <a:gd name="connsiteY24" fmla="*/ 790575 h 1294606"/>
                <a:gd name="connsiteX25" fmla="*/ 757238 w 1830388"/>
                <a:gd name="connsiteY25" fmla="*/ 812800 h 1294606"/>
                <a:gd name="connsiteX26" fmla="*/ 706438 w 1830388"/>
                <a:gd name="connsiteY26" fmla="*/ 857250 h 1294606"/>
                <a:gd name="connsiteX27" fmla="*/ 677863 w 1830388"/>
                <a:gd name="connsiteY27" fmla="*/ 873125 h 1294606"/>
                <a:gd name="connsiteX28" fmla="*/ 646113 w 1830388"/>
                <a:gd name="connsiteY28" fmla="*/ 869950 h 1294606"/>
                <a:gd name="connsiteX29" fmla="*/ 627063 w 1830388"/>
                <a:gd name="connsiteY29" fmla="*/ 901700 h 1294606"/>
                <a:gd name="connsiteX30" fmla="*/ 601663 w 1830388"/>
                <a:gd name="connsiteY30" fmla="*/ 892175 h 1294606"/>
                <a:gd name="connsiteX31" fmla="*/ 585788 w 1830388"/>
                <a:gd name="connsiteY31" fmla="*/ 895350 h 1294606"/>
                <a:gd name="connsiteX32" fmla="*/ 550863 w 1830388"/>
                <a:gd name="connsiteY32" fmla="*/ 936625 h 1294606"/>
                <a:gd name="connsiteX33" fmla="*/ 442913 w 1830388"/>
                <a:gd name="connsiteY33" fmla="*/ 936625 h 1294606"/>
                <a:gd name="connsiteX34" fmla="*/ 430213 w 1830388"/>
                <a:gd name="connsiteY34" fmla="*/ 968375 h 1294606"/>
                <a:gd name="connsiteX35" fmla="*/ 407988 w 1830388"/>
                <a:gd name="connsiteY35" fmla="*/ 965200 h 1294606"/>
                <a:gd name="connsiteX36" fmla="*/ 392113 w 1830388"/>
                <a:gd name="connsiteY36" fmla="*/ 993775 h 1294606"/>
                <a:gd name="connsiteX37" fmla="*/ 360363 w 1830388"/>
                <a:gd name="connsiteY37" fmla="*/ 993775 h 1294606"/>
                <a:gd name="connsiteX38" fmla="*/ 344488 w 1830388"/>
                <a:gd name="connsiteY38" fmla="*/ 996950 h 1294606"/>
                <a:gd name="connsiteX39" fmla="*/ 331788 w 1830388"/>
                <a:gd name="connsiteY39" fmla="*/ 1019175 h 1294606"/>
                <a:gd name="connsiteX40" fmla="*/ 290513 w 1830388"/>
                <a:gd name="connsiteY40" fmla="*/ 1009650 h 1294606"/>
                <a:gd name="connsiteX41" fmla="*/ 271463 w 1830388"/>
                <a:gd name="connsiteY41" fmla="*/ 1035050 h 1294606"/>
                <a:gd name="connsiteX42" fmla="*/ 265113 w 1830388"/>
                <a:gd name="connsiteY42" fmla="*/ 1050925 h 1294606"/>
                <a:gd name="connsiteX43" fmla="*/ 192088 w 1830388"/>
                <a:gd name="connsiteY43" fmla="*/ 1069975 h 1294606"/>
                <a:gd name="connsiteX44" fmla="*/ 141288 w 1830388"/>
                <a:gd name="connsiteY44" fmla="*/ 1098550 h 1294606"/>
                <a:gd name="connsiteX45" fmla="*/ 96838 w 1830388"/>
                <a:gd name="connsiteY45" fmla="*/ 1177925 h 1294606"/>
                <a:gd name="connsiteX46" fmla="*/ 77788 w 1830388"/>
                <a:gd name="connsiteY46" fmla="*/ 1193800 h 1294606"/>
                <a:gd name="connsiteX47" fmla="*/ 46038 w 1830388"/>
                <a:gd name="connsiteY47" fmla="*/ 1225550 h 1294606"/>
                <a:gd name="connsiteX48" fmla="*/ 0 w 1830388"/>
                <a:gd name="connsiteY48" fmla="*/ 1294606 h 1294606"/>
                <a:gd name="connsiteX0" fmla="*/ 1830388 w 1830388"/>
                <a:gd name="connsiteY0" fmla="*/ 0 h 1294606"/>
                <a:gd name="connsiteX1" fmla="*/ 1774828 w 1830388"/>
                <a:gd name="connsiteY1" fmla="*/ 115360 h 1294606"/>
                <a:gd name="connsiteX2" fmla="*/ 1676403 w 1830388"/>
                <a:gd name="connsiteY2" fmla="*/ 223310 h 1294606"/>
                <a:gd name="connsiteX3" fmla="*/ 1651003 w 1830388"/>
                <a:gd name="connsiteY3" fmla="*/ 382060 h 1294606"/>
                <a:gd name="connsiteX4" fmla="*/ 1593853 w 1830388"/>
                <a:gd name="connsiteY4" fmla="*/ 553510 h 1294606"/>
                <a:gd name="connsiteX5" fmla="*/ 1450978 w 1830388"/>
                <a:gd name="connsiteY5" fmla="*/ 677335 h 1294606"/>
                <a:gd name="connsiteX6" fmla="*/ 1341438 w 1830388"/>
                <a:gd name="connsiteY6" fmla="*/ 711200 h 1294606"/>
                <a:gd name="connsiteX7" fmla="*/ 1300163 w 1830388"/>
                <a:gd name="connsiteY7" fmla="*/ 714375 h 1294606"/>
                <a:gd name="connsiteX8" fmla="*/ 1274763 w 1830388"/>
                <a:gd name="connsiteY8" fmla="*/ 714375 h 1294606"/>
                <a:gd name="connsiteX9" fmla="*/ 1255713 w 1830388"/>
                <a:gd name="connsiteY9" fmla="*/ 714375 h 1294606"/>
                <a:gd name="connsiteX10" fmla="*/ 1239838 w 1830388"/>
                <a:gd name="connsiteY10" fmla="*/ 698500 h 1294606"/>
                <a:gd name="connsiteX11" fmla="*/ 1217613 w 1830388"/>
                <a:gd name="connsiteY11" fmla="*/ 698500 h 1294606"/>
                <a:gd name="connsiteX12" fmla="*/ 1189038 w 1830388"/>
                <a:gd name="connsiteY12" fmla="*/ 698500 h 1294606"/>
                <a:gd name="connsiteX13" fmla="*/ 1169988 w 1830388"/>
                <a:gd name="connsiteY13" fmla="*/ 733425 h 1294606"/>
                <a:gd name="connsiteX14" fmla="*/ 1135063 w 1830388"/>
                <a:gd name="connsiteY14" fmla="*/ 723900 h 1294606"/>
                <a:gd name="connsiteX15" fmla="*/ 1093788 w 1830388"/>
                <a:gd name="connsiteY15" fmla="*/ 723900 h 1294606"/>
                <a:gd name="connsiteX16" fmla="*/ 1093788 w 1830388"/>
                <a:gd name="connsiteY16" fmla="*/ 723900 h 1294606"/>
                <a:gd name="connsiteX17" fmla="*/ 1039813 w 1830388"/>
                <a:gd name="connsiteY17" fmla="*/ 723900 h 1294606"/>
                <a:gd name="connsiteX18" fmla="*/ 1014413 w 1830388"/>
                <a:gd name="connsiteY18" fmla="*/ 736600 h 1294606"/>
                <a:gd name="connsiteX19" fmla="*/ 973138 w 1830388"/>
                <a:gd name="connsiteY19" fmla="*/ 730250 h 1294606"/>
                <a:gd name="connsiteX20" fmla="*/ 941388 w 1830388"/>
                <a:gd name="connsiteY20" fmla="*/ 749300 h 1294606"/>
                <a:gd name="connsiteX21" fmla="*/ 893763 w 1830388"/>
                <a:gd name="connsiteY21" fmla="*/ 752475 h 1294606"/>
                <a:gd name="connsiteX22" fmla="*/ 865188 w 1830388"/>
                <a:gd name="connsiteY22" fmla="*/ 787400 h 1294606"/>
                <a:gd name="connsiteX23" fmla="*/ 820738 w 1830388"/>
                <a:gd name="connsiteY23" fmla="*/ 790575 h 1294606"/>
                <a:gd name="connsiteX24" fmla="*/ 757238 w 1830388"/>
                <a:gd name="connsiteY24" fmla="*/ 812800 h 1294606"/>
                <a:gd name="connsiteX25" fmla="*/ 706438 w 1830388"/>
                <a:gd name="connsiteY25" fmla="*/ 857250 h 1294606"/>
                <a:gd name="connsiteX26" fmla="*/ 677863 w 1830388"/>
                <a:gd name="connsiteY26" fmla="*/ 873125 h 1294606"/>
                <a:gd name="connsiteX27" fmla="*/ 646113 w 1830388"/>
                <a:gd name="connsiteY27" fmla="*/ 869950 h 1294606"/>
                <a:gd name="connsiteX28" fmla="*/ 627063 w 1830388"/>
                <a:gd name="connsiteY28" fmla="*/ 901700 h 1294606"/>
                <a:gd name="connsiteX29" fmla="*/ 601663 w 1830388"/>
                <a:gd name="connsiteY29" fmla="*/ 892175 h 1294606"/>
                <a:gd name="connsiteX30" fmla="*/ 585788 w 1830388"/>
                <a:gd name="connsiteY30" fmla="*/ 895350 h 1294606"/>
                <a:gd name="connsiteX31" fmla="*/ 550863 w 1830388"/>
                <a:gd name="connsiteY31" fmla="*/ 936625 h 1294606"/>
                <a:gd name="connsiteX32" fmla="*/ 442913 w 1830388"/>
                <a:gd name="connsiteY32" fmla="*/ 936625 h 1294606"/>
                <a:gd name="connsiteX33" fmla="*/ 430213 w 1830388"/>
                <a:gd name="connsiteY33" fmla="*/ 968375 h 1294606"/>
                <a:gd name="connsiteX34" fmla="*/ 407988 w 1830388"/>
                <a:gd name="connsiteY34" fmla="*/ 965200 h 1294606"/>
                <a:gd name="connsiteX35" fmla="*/ 392113 w 1830388"/>
                <a:gd name="connsiteY35" fmla="*/ 993775 h 1294606"/>
                <a:gd name="connsiteX36" fmla="*/ 360363 w 1830388"/>
                <a:gd name="connsiteY36" fmla="*/ 993775 h 1294606"/>
                <a:gd name="connsiteX37" fmla="*/ 344488 w 1830388"/>
                <a:gd name="connsiteY37" fmla="*/ 996950 h 1294606"/>
                <a:gd name="connsiteX38" fmla="*/ 331788 w 1830388"/>
                <a:gd name="connsiteY38" fmla="*/ 1019175 h 1294606"/>
                <a:gd name="connsiteX39" fmla="*/ 290513 w 1830388"/>
                <a:gd name="connsiteY39" fmla="*/ 1009650 h 1294606"/>
                <a:gd name="connsiteX40" fmla="*/ 271463 w 1830388"/>
                <a:gd name="connsiteY40" fmla="*/ 1035050 h 1294606"/>
                <a:gd name="connsiteX41" fmla="*/ 265113 w 1830388"/>
                <a:gd name="connsiteY41" fmla="*/ 1050925 h 1294606"/>
                <a:gd name="connsiteX42" fmla="*/ 192088 w 1830388"/>
                <a:gd name="connsiteY42" fmla="*/ 1069975 h 1294606"/>
                <a:gd name="connsiteX43" fmla="*/ 141288 w 1830388"/>
                <a:gd name="connsiteY43" fmla="*/ 1098550 h 1294606"/>
                <a:gd name="connsiteX44" fmla="*/ 96838 w 1830388"/>
                <a:gd name="connsiteY44" fmla="*/ 1177925 h 1294606"/>
                <a:gd name="connsiteX45" fmla="*/ 77788 w 1830388"/>
                <a:gd name="connsiteY45" fmla="*/ 1193800 h 1294606"/>
                <a:gd name="connsiteX46" fmla="*/ 46038 w 1830388"/>
                <a:gd name="connsiteY46" fmla="*/ 1225550 h 1294606"/>
                <a:gd name="connsiteX47" fmla="*/ 0 w 1830388"/>
                <a:gd name="connsiteY47" fmla="*/ 1294606 h 1294606"/>
                <a:gd name="connsiteX0" fmla="*/ 1830388 w 1830388"/>
                <a:gd name="connsiteY0" fmla="*/ 0 h 1294606"/>
                <a:gd name="connsiteX1" fmla="*/ 1774828 w 1830388"/>
                <a:gd name="connsiteY1" fmla="*/ 115360 h 1294606"/>
                <a:gd name="connsiteX2" fmla="*/ 1676403 w 1830388"/>
                <a:gd name="connsiteY2" fmla="*/ 223310 h 1294606"/>
                <a:gd name="connsiteX3" fmla="*/ 1651003 w 1830388"/>
                <a:gd name="connsiteY3" fmla="*/ 382060 h 1294606"/>
                <a:gd name="connsiteX4" fmla="*/ 1593853 w 1830388"/>
                <a:gd name="connsiteY4" fmla="*/ 553510 h 1294606"/>
                <a:gd name="connsiteX5" fmla="*/ 1603378 w 1830388"/>
                <a:gd name="connsiteY5" fmla="*/ 621772 h 1294606"/>
                <a:gd name="connsiteX6" fmla="*/ 1450978 w 1830388"/>
                <a:gd name="connsiteY6" fmla="*/ 677335 h 1294606"/>
                <a:gd name="connsiteX7" fmla="*/ 1341438 w 1830388"/>
                <a:gd name="connsiteY7" fmla="*/ 711200 h 1294606"/>
                <a:gd name="connsiteX8" fmla="*/ 1300163 w 1830388"/>
                <a:gd name="connsiteY8" fmla="*/ 714375 h 1294606"/>
                <a:gd name="connsiteX9" fmla="*/ 1274763 w 1830388"/>
                <a:gd name="connsiteY9" fmla="*/ 714375 h 1294606"/>
                <a:gd name="connsiteX10" fmla="*/ 1255713 w 1830388"/>
                <a:gd name="connsiteY10" fmla="*/ 714375 h 1294606"/>
                <a:gd name="connsiteX11" fmla="*/ 1239838 w 1830388"/>
                <a:gd name="connsiteY11" fmla="*/ 698500 h 1294606"/>
                <a:gd name="connsiteX12" fmla="*/ 1217613 w 1830388"/>
                <a:gd name="connsiteY12" fmla="*/ 698500 h 1294606"/>
                <a:gd name="connsiteX13" fmla="*/ 1189038 w 1830388"/>
                <a:gd name="connsiteY13" fmla="*/ 698500 h 1294606"/>
                <a:gd name="connsiteX14" fmla="*/ 1169988 w 1830388"/>
                <a:gd name="connsiteY14" fmla="*/ 733425 h 1294606"/>
                <a:gd name="connsiteX15" fmla="*/ 1135063 w 1830388"/>
                <a:gd name="connsiteY15" fmla="*/ 723900 h 1294606"/>
                <a:gd name="connsiteX16" fmla="*/ 1093788 w 1830388"/>
                <a:gd name="connsiteY16" fmla="*/ 723900 h 1294606"/>
                <a:gd name="connsiteX17" fmla="*/ 1093788 w 1830388"/>
                <a:gd name="connsiteY17" fmla="*/ 723900 h 1294606"/>
                <a:gd name="connsiteX18" fmla="*/ 1039813 w 1830388"/>
                <a:gd name="connsiteY18" fmla="*/ 723900 h 1294606"/>
                <a:gd name="connsiteX19" fmla="*/ 1014413 w 1830388"/>
                <a:gd name="connsiteY19" fmla="*/ 736600 h 1294606"/>
                <a:gd name="connsiteX20" fmla="*/ 973138 w 1830388"/>
                <a:gd name="connsiteY20" fmla="*/ 730250 h 1294606"/>
                <a:gd name="connsiteX21" fmla="*/ 941388 w 1830388"/>
                <a:gd name="connsiteY21" fmla="*/ 749300 h 1294606"/>
                <a:gd name="connsiteX22" fmla="*/ 893763 w 1830388"/>
                <a:gd name="connsiteY22" fmla="*/ 752475 h 1294606"/>
                <a:gd name="connsiteX23" fmla="*/ 865188 w 1830388"/>
                <a:gd name="connsiteY23" fmla="*/ 787400 h 1294606"/>
                <a:gd name="connsiteX24" fmla="*/ 820738 w 1830388"/>
                <a:gd name="connsiteY24" fmla="*/ 790575 h 1294606"/>
                <a:gd name="connsiteX25" fmla="*/ 757238 w 1830388"/>
                <a:gd name="connsiteY25" fmla="*/ 812800 h 1294606"/>
                <a:gd name="connsiteX26" fmla="*/ 706438 w 1830388"/>
                <a:gd name="connsiteY26" fmla="*/ 857250 h 1294606"/>
                <a:gd name="connsiteX27" fmla="*/ 677863 w 1830388"/>
                <a:gd name="connsiteY27" fmla="*/ 873125 h 1294606"/>
                <a:gd name="connsiteX28" fmla="*/ 646113 w 1830388"/>
                <a:gd name="connsiteY28" fmla="*/ 869950 h 1294606"/>
                <a:gd name="connsiteX29" fmla="*/ 627063 w 1830388"/>
                <a:gd name="connsiteY29" fmla="*/ 901700 h 1294606"/>
                <a:gd name="connsiteX30" fmla="*/ 601663 w 1830388"/>
                <a:gd name="connsiteY30" fmla="*/ 892175 h 1294606"/>
                <a:gd name="connsiteX31" fmla="*/ 585788 w 1830388"/>
                <a:gd name="connsiteY31" fmla="*/ 895350 h 1294606"/>
                <a:gd name="connsiteX32" fmla="*/ 550863 w 1830388"/>
                <a:gd name="connsiteY32" fmla="*/ 936625 h 1294606"/>
                <a:gd name="connsiteX33" fmla="*/ 442913 w 1830388"/>
                <a:gd name="connsiteY33" fmla="*/ 936625 h 1294606"/>
                <a:gd name="connsiteX34" fmla="*/ 430213 w 1830388"/>
                <a:gd name="connsiteY34" fmla="*/ 968375 h 1294606"/>
                <a:gd name="connsiteX35" fmla="*/ 407988 w 1830388"/>
                <a:gd name="connsiteY35" fmla="*/ 965200 h 1294606"/>
                <a:gd name="connsiteX36" fmla="*/ 392113 w 1830388"/>
                <a:gd name="connsiteY36" fmla="*/ 993775 h 1294606"/>
                <a:gd name="connsiteX37" fmla="*/ 360363 w 1830388"/>
                <a:gd name="connsiteY37" fmla="*/ 993775 h 1294606"/>
                <a:gd name="connsiteX38" fmla="*/ 344488 w 1830388"/>
                <a:gd name="connsiteY38" fmla="*/ 996950 h 1294606"/>
                <a:gd name="connsiteX39" fmla="*/ 331788 w 1830388"/>
                <a:gd name="connsiteY39" fmla="*/ 1019175 h 1294606"/>
                <a:gd name="connsiteX40" fmla="*/ 290513 w 1830388"/>
                <a:gd name="connsiteY40" fmla="*/ 1009650 h 1294606"/>
                <a:gd name="connsiteX41" fmla="*/ 271463 w 1830388"/>
                <a:gd name="connsiteY41" fmla="*/ 1035050 h 1294606"/>
                <a:gd name="connsiteX42" fmla="*/ 265113 w 1830388"/>
                <a:gd name="connsiteY42" fmla="*/ 1050925 h 1294606"/>
                <a:gd name="connsiteX43" fmla="*/ 192088 w 1830388"/>
                <a:gd name="connsiteY43" fmla="*/ 1069975 h 1294606"/>
                <a:gd name="connsiteX44" fmla="*/ 141288 w 1830388"/>
                <a:gd name="connsiteY44" fmla="*/ 1098550 h 1294606"/>
                <a:gd name="connsiteX45" fmla="*/ 96838 w 1830388"/>
                <a:gd name="connsiteY45" fmla="*/ 1177925 h 1294606"/>
                <a:gd name="connsiteX46" fmla="*/ 77788 w 1830388"/>
                <a:gd name="connsiteY46" fmla="*/ 1193800 h 1294606"/>
                <a:gd name="connsiteX47" fmla="*/ 46038 w 1830388"/>
                <a:gd name="connsiteY47" fmla="*/ 1225550 h 1294606"/>
                <a:gd name="connsiteX48" fmla="*/ 0 w 1830388"/>
                <a:gd name="connsiteY48" fmla="*/ 1294606 h 1294606"/>
                <a:gd name="connsiteX0" fmla="*/ 1830388 w 1830388"/>
                <a:gd name="connsiteY0" fmla="*/ 0 h 1294606"/>
                <a:gd name="connsiteX1" fmla="*/ 1774828 w 1830388"/>
                <a:gd name="connsiteY1" fmla="*/ 115360 h 1294606"/>
                <a:gd name="connsiteX2" fmla="*/ 1676403 w 1830388"/>
                <a:gd name="connsiteY2" fmla="*/ 223310 h 1294606"/>
                <a:gd name="connsiteX3" fmla="*/ 1651003 w 1830388"/>
                <a:gd name="connsiteY3" fmla="*/ 382060 h 1294606"/>
                <a:gd name="connsiteX4" fmla="*/ 1593853 w 1830388"/>
                <a:gd name="connsiteY4" fmla="*/ 553510 h 1294606"/>
                <a:gd name="connsiteX5" fmla="*/ 1641478 w 1830388"/>
                <a:gd name="connsiteY5" fmla="*/ 631297 h 1294606"/>
                <a:gd name="connsiteX6" fmla="*/ 1450978 w 1830388"/>
                <a:gd name="connsiteY6" fmla="*/ 677335 h 1294606"/>
                <a:gd name="connsiteX7" fmla="*/ 1341438 w 1830388"/>
                <a:gd name="connsiteY7" fmla="*/ 711200 h 1294606"/>
                <a:gd name="connsiteX8" fmla="*/ 1300163 w 1830388"/>
                <a:gd name="connsiteY8" fmla="*/ 714375 h 1294606"/>
                <a:gd name="connsiteX9" fmla="*/ 1274763 w 1830388"/>
                <a:gd name="connsiteY9" fmla="*/ 714375 h 1294606"/>
                <a:gd name="connsiteX10" fmla="*/ 1255713 w 1830388"/>
                <a:gd name="connsiteY10" fmla="*/ 714375 h 1294606"/>
                <a:gd name="connsiteX11" fmla="*/ 1239838 w 1830388"/>
                <a:gd name="connsiteY11" fmla="*/ 698500 h 1294606"/>
                <a:gd name="connsiteX12" fmla="*/ 1217613 w 1830388"/>
                <a:gd name="connsiteY12" fmla="*/ 698500 h 1294606"/>
                <a:gd name="connsiteX13" fmla="*/ 1189038 w 1830388"/>
                <a:gd name="connsiteY13" fmla="*/ 698500 h 1294606"/>
                <a:gd name="connsiteX14" fmla="*/ 1169988 w 1830388"/>
                <a:gd name="connsiteY14" fmla="*/ 733425 h 1294606"/>
                <a:gd name="connsiteX15" fmla="*/ 1135063 w 1830388"/>
                <a:gd name="connsiteY15" fmla="*/ 723900 h 1294606"/>
                <a:gd name="connsiteX16" fmla="*/ 1093788 w 1830388"/>
                <a:gd name="connsiteY16" fmla="*/ 723900 h 1294606"/>
                <a:gd name="connsiteX17" fmla="*/ 1093788 w 1830388"/>
                <a:gd name="connsiteY17" fmla="*/ 723900 h 1294606"/>
                <a:gd name="connsiteX18" fmla="*/ 1039813 w 1830388"/>
                <a:gd name="connsiteY18" fmla="*/ 723900 h 1294606"/>
                <a:gd name="connsiteX19" fmla="*/ 1014413 w 1830388"/>
                <a:gd name="connsiteY19" fmla="*/ 736600 h 1294606"/>
                <a:gd name="connsiteX20" fmla="*/ 973138 w 1830388"/>
                <a:gd name="connsiteY20" fmla="*/ 730250 h 1294606"/>
                <a:gd name="connsiteX21" fmla="*/ 941388 w 1830388"/>
                <a:gd name="connsiteY21" fmla="*/ 749300 h 1294606"/>
                <a:gd name="connsiteX22" fmla="*/ 893763 w 1830388"/>
                <a:gd name="connsiteY22" fmla="*/ 752475 h 1294606"/>
                <a:gd name="connsiteX23" fmla="*/ 865188 w 1830388"/>
                <a:gd name="connsiteY23" fmla="*/ 787400 h 1294606"/>
                <a:gd name="connsiteX24" fmla="*/ 820738 w 1830388"/>
                <a:gd name="connsiteY24" fmla="*/ 790575 h 1294606"/>
                <a:gd name="connsiteX25" fmla="*/ 757238 w 1830388"/>
                <a:gd name="connsiteY25" fmla="*/ 812800 h 1294606"/>
                <a:gd name="connsiteX26" fmla="*/ 706438 w 1830388"/>
                <a:gd name="connsiteY26" fmla="*/ 857250 h 1294606"/>
                <a:gd name="connsiteX27" fmla="*/ 677863 w 1830388"/>
                <a:gd name="connsiteY27" fmla="*/ 873125 h 1294606"/>
                <a:gd name="connsiteX28" fmla="*/ 646113 w 1830388"/>
                <a:gd name="connsiteY28" fmla="*/ 869950 h 1294606"/>
                <a:gd name="connsiteX29" fmla="*/ 627063 w 1830388"/>
                <a:gd name="connsiteY29" fmla="*/ 901700 h 1294606"/>
                <a:gd name="connsiteX30" fmla="*/ 601663 w 1830388"/>
                <a:gd name="connsiteY30" fmla="*/ 892175 h 1294606"/>
                <a:gd name="connsiteX31" fmla="*/ 585788 w 1830388"/>
                <a:gd name="connsiteY31" fmla="*/ 895350 h 1294606"/>
                <a:gd name="connsiteX32" fmla="*/ 550863 w 1830388"/>
                <a:gd name="connsiteY32" fmla="*/ 936625 h 1294606"/>
                <a:gd name="connsiteX33" fmla="*/ 442913 w 1830388"/>
                <a:gd name="connsiteY33" fmla="*/ 936625 h 1294606"/>
                <a:gd name="connsiteX34" fmla="*/ 430213 w 1830388"/>
                <a:gd name="connsiteY34" fmla="*/ 968375 h 1294606"/>
                <a:gd name="connsiteX35" fmla="*/ 407988 w 1830388"/>
                <a:gd name="connsiteY35" fmla="*/ 965200 h 1294606"/>
                <a:gd name="connsiteX36" fmla="*/ 392113 w 1830388"/>
                <a:gd name="connsiteY36" fmla="*/ 993775 h 1294606"/>
                <a:gd name="connsiteX37" fmla="*/ 360363 w 1830388"/>
                <a:gd name="connsiteY37" fmla="*/ 993775 h 1294606"/>
                <a:gd name="connsiteX38" fmla="*/ 344488 w 1830388"/>
                <a:gd name="connsiteY38" fmla="*/ 996950 h 1294606"/>
                <a:gd name="connsiteX39" fmla="*/ 331788 w 1830388"/>
                <a:gd name="connsiteY39" fmla="*/ 1019175 h 1294606"/>
                <a:gd name="connsiteX40" fmla="*/ 290513 w 1830388"/>
                <a:gd name="connsiteY40" fmla="*/ 1009650 h 1294606"/>
                <a:gd name="connsiteX41" fmla="*/ 271463 w 1830388"/>
                <a:gd name="connsiteY41" fmla="*/ 1035050 h 1294606"/>
                <a:gd name="connsiteX42" fmla="*/ 265113 w 1830388"/>
                <a:gd name="connsiteY42" fmla="*/ 1050925 h 1294606"/>
                <a:gd name="connsiteX43" fmla="*/ 192088 w 1830388"/>
                <a:gd name="connsiteY43" fmla="*/ 1069975 h 1294606"/>
                <a:gd name="connsiteX44" fmla="*/ 141288 w 1830388"/>
                <a:gd name="connsiteY44" fmla="*/ 1098550 h 1294606"/>
                <a:gd name="connsiteX45" fmla="*/ 96838 w 1830388"/>
                <a:gd name="connsiteY45" fmla="*/ 1177925 h 1294606"/>
                <a:gd name="connsiteX46" fmla="*/ 77788 w 1830388"/>
                <a:gd name="connsiteY46" fmla="*/ 1193800 h 1294606"/>
                <a:gd name="connsiteX47" fmla="*/ 46038 w 1830388"/>
                <a:gd name="connsiteY47" fmla="*/ 1225550 h 1294606"/>
                <a:gd name="connsiteX48" fmla="*/ 0 w 1830388"/>
                <a:gd name="connsiteY48" fmla="*/ 1294606 h 1294606"/>
                <a:gd name="connsiteX0" fmla="*/ 1830388 w 1830388"/>
                <a:gd name="connsiteY0" fmla="*/ 0 h 1294606"/>
                <a:gd name="connsiteX1" fmla="*/ 1774828 w 1830388"/>
                <a:gd name="connsiteY1" fmla="*/ 115360 h 1294606"/>
                <a:gd name="connsiteX2" fmla="*/ 1676403 w 1830388"/>
                <a:gd name="connsiteY2" fmla="*/ 223310 h 1294606"/>
                <a:gd name="connsiteX3" fmla="*/ 1651003 w 1830388"/>
                <a:gd name="connsiteY3" fmla="*/ 382060 h 1294606"/>
                <a:gd name="connsiteX4" fmla="*/ 1593853 w 1830388"/>
                <a:gd name="connsiteY4" fmla="*/ 553510 h 1294606"/>
                <a:gd name="connsiteX5" fmla="*/ 1641478 w 1830388"/>
                <a:gd name="connsiteY5" fmla="*/ 631297 h 1294606"/>
                <a:gd name="connsiteX6" fmla="*/ 1539084 w 1830388"/>
                <a:gd name="connsiteY6" fmla="*/ 640822 h 1294606"/>
                <a:gd name="connsiteX7" fmla="*/ 1450978 w 1830388"/>
                <a:gd name="connsiteY7" fmla="*/ 677335 h 1294606"/>
                <a:gd name="connsiteX8" fmla="*/ 1341438 w 1830388"/>
                <a:gd name="connsiteY8" fmla="*/ 711200 h 1294606"/>
                <a:gd name="connsiteX9" fmla="*/ 1300163 w 1830388"/>
                <a:gd name="connsiteY9" fmla="*/ 714375 h 1294606"/>
                <a:gd name="connsiteX10" fmla="*/ 1274763 w 1830388"/>
                <a:gd name="connsiteY10" fmla="*/ 714375 h 1294606"/>
                <a:gd name="connsiteX11" fmla="*/ 1255713 w 1830388"/>
                <a:gd name="connsiteY11" fmla="*/ 714375 h 1294606"/>
                <a:gd name="connsiteX12" fmla="*/ 1239838 w 1830388"/>
                <a:gd name="connsiteY12" fmla="*/ 698500 h 1294606"/>
                <a:gd name="connsiteX13" fmla="*/ 1217613 w 1830388"/>
                <a:gd name="connsiteY13" fmla="*/ 698500 h 1294606"/>
                <a:gd name="connsiteX14" fmla="*/ 1189038 w 1830388"/>
                <a:gd name="connsiteY14" fmla="*/ 698500 h 1294606"/>
                <a:gd name="connsiteX15" fmla="*/ 1169988 w 1830388"/>
                <a:gd name="connsiteY15" fmla="*/ 733425 h 1294606"/>
                <a:gd name="connsiteX16" fmla="*/ 1135063 w 1830388"/>
                <a:gd name="connsiteY16" fmla="*/ 723900 h 1294606"/>
                <a:gd name="connsiteX17" fmla="*/ 1093788 w 1830388"/>
                <a:gd name="connsiteY17" fmla="*/ 723900 h 1294606"/>
                <a:gd name="connsiteX18" fmla="*/ 1093788 w 1830388"/>
                <a:gd name="connsiteY18" fmla="*/ 723900 h 1294606"/>
                <a:gd name="connsiteX19" fmla="*/ 1039813 w 1830388"/>
                <a:gd name="connsiteY19" fmla="*/ 723900 h 1294606"/>
                <a:gd name="connsiteX20" fmla="*/ 1014413 w 1830388"/>
                <a:gd name="connsiteY20" fmla="*/ 736600 h 1294606"/>
                <a:gd name="connsiteX21" fmla="*/ 973138 w 1830388"/>
                <a:gd name="connsiteY21" fmla="*/ 730250 h 1294606"/>
                <a:gd name="connsiteX22" fmla="*/ 941388 w 1830388"/>
                <a:gd name="connsiteY22" fmla="*/ 749300 h 1294606"/>
                <a:gd name="connsiteX23" fmla="*/ 893763 w 1830388"/>
                <a:gd name="connsiteY23" fmla="*/ 752475 h 1294606"/>
                <a:gd name="connsiteX24" fmla="*/ 865188 w 1830388"/>
                <a:gd name="connsiteY24" fmla="*/ 787400 h 1294606"/>
                <a:gd name="connsiteX25" fmla="*/ 820738 w 1830388"/>
                <a:gd name="connsiteY25" fmla="*/ 790575 h 1294606"/>
                <a:gd name="connsiteX26" fmla="*/ 757238 w 1830388"/>
                <a:gd name="connsiteY26" fmla="*/ 812800 h 1294606"/>
                <a:gd name="connsiteX27" fmla="*/ 706438 w 1830388"/>
                <a:gd name="connsiteY27" fmla="*/ 857250 h 1294606"/>
                <a:gd name="connsiteX28" fmla="*/ 677863 w 1830388"/>
                <a:gd name="connsiteY28" fmla="*/ 873125 h 1294606"/>
                <a:gd name="connsiteX29" fmla="*/ 646113 w 1830388"/>
                <a:gd name="connsiteY29" fmla="*/ 869950 h 1294606"/>
                <a:gd name="connsiteX30" fmla="*/ 627063 w 1830388"/>
                <a:gd name="connsiteY30" fmla="*/ 901700 h 1294606"/>
                <a:gd name="connsiteX31" fmla="*/ 601663 w 1830388"/>
                <a:gd name="connsiteY31" fmla="*/ 892175 h 1294606"/>
                <a:gd name="connsiteX32" fmla="*/ 585788 w 1830388"/>
                <a:gd name="connsiteY32" fmla="*/ 895350 h 1294606"/>
                <a:gd name="connsiteX33" fmla="*/ 550863 w 1830388"/>
                <a:gd name="connsiteY33" fmla="*/ 936625 h 1294606"/>
                <a:gd name="connsiteX34" fmla="*/ 442913 w 1830388"/>
                <a:gd name="connsiteY34" fmla="*/ 936625 h 1294606"/>
                <a:gd name="connsiteX35" fmla="*/ 430213 w 1830388"/>
                <a:gd name="connsiteY35" fmla="*/ 968375 h 1294606"/>
                <a:gd name="connsiteX36" fmla="*/ 407988 w 1830388"/>
                <a:gd name="connsiteY36" fmla="*/ 965200 h 1294606"/>
                <a:gd name="connsiteX37" fmla="*/ 392113 w 1830388"/>
                <a:gd name="connsiteY37" fmla="*/ 993775 h 1294606"/>
                <a:gd name="connsiteX38" fmla="*/ 360363 w 1830388"/>
                <a:gd name="connsiteY38" fmla="*/ 993775 h 1294606"/>
                <a:gd name="connsiteX39" fmla="*/ 344488 w 1830388"/>
                <a:gd name="connsiteY39" fmla="*/ 996950 h 1294606"/>
                <a:gd name="connsiteX40" fmla="*/ 331788 w 1830388"/>
                <a:gd name="connsiteY40" fmla="*/ 1019175 h 1294606"/>
                <a:gd name="connsiteX41" fmla="*/ 290513 w 1830388"/>
                <a:gd name="connsiteY41" fmla="*/ 1009650 h 1294606"/>
                <a:gd name="connsiteX42" fmla="*/ 271463 w 1830388"/>
                <a:gd name="connsiteY42" fmla="*/ 1035050 h 1294606"/>
                <a:gd name="connsiteX43" fmla="*/ 265113 w 1830388"/>
                <a:gd name="connsiteY43" fmla="*/ 1050925 h 1294606"/>
                <a:gd name="connsiteX44" fmla="*/ 192088 w 1830388"/>
                <a:gd name="connsiteY44" fmla="*/ 1069975 h 1294606"/>
                <a:gd name="connsiteX45" fmla="*/ 141288 w 1830388"/>
                <a:gd name="connsiteY45" fmla="*/ 1098550 h 1294606"/>
                <a:gd name="connsiteX46" fmla="*/ 96838 w 1830388"/>
                <a:gd name="connsiteY46" fmla="*/ 1177925 h 1294606"/>
                <a:gd name="connsiteX47" fmla="*/ 77788 w 1830388"/>
                <a:gd name="connsiteY47" fmla="*/ 1193800 h 1294606"/>
                <a:gd name="connsiteX48" fmla="*/ 46038 w 1830388"/>
                <a:gd name="connsiteY48" fmla="*/ 1225550 h 1294606"/>
                <a:gd name="connsiteX49" fmla="*/ 0 w 1830388"/>
                <a:gd name="connsiteY49" fmla="*/ 1294606 h 1294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1830388" h="1294606">
                  <a:moveTo>
                    <a:pt x="1830388" y="0"/>
                  </a:moveTo>
                  <a:cubicBezTo>
                    <a:pt x="1817424" y="18168"/>
                    <a:pt x="1800492" y="78142"/>
                    <a:pt x="1774828" y="115360"/>
                  </a:cubicBezTo>
                  <a:cubicBezTo>
                    <a:pt x="1749164" y="152578"/>
                    <a:pt x="1693336" y="177802"/>
                    <a:pt x="1676403" y="223310"/>
                  </a:cubicBezTo>
                  <a:cubicBezTo>
                    <a:pt x="1659470" y="268818"/>
                    <a:pt x="1672170" y="327027"/>
                    <a:pt x="1651003" y="382060"/>
                  </a:cubicBezTo>
                  <a:cubicBezTo>
                    <a:pt x="1629836" y="437093"/>
                    <a:pt x="1609728" y="517527"/>
                    <a:pt x="1593853" y="553510"/>
                  </a:cubicBezTo>
                  <a:cubicBezTo>
                    <a:pt x="1577978" y="589493"/>
                    <a:pt x="1649415" y="615158"/>
                    <a:pt x="1641478" y="631297"/>
                  </a:cubicBezTo>
                  <a:cubicBezTo>
                    <a:pt x="1633541" y="647436"/>
                    <a:pt x="1570834" y="633149"/>
                    <a:pt x="1539084" y="640822"/>
                  </a:cubicBezTo>
                  <a:cubicBezTo>
                    <a:pt x="1507334" y="648495"/>
                    <a:pt x="1485110" y="667193"/>
                    <a:pt x="1450978" y="677335"/>
                  </a:cubicBezTo>
                  <a:lnTo>
                    <a:pt x="1341438" y="711200"/>
                  </a:lnTo>
                  <a:lnTo>
                    <a:pt x="1300163" y="714375"/>
                  </a:lnTo>
                  <a:lnTo>
                    <a:pt x="1274763" y="714375"/>
                  </a:lnTo>
                  <a:lnTo>
                    <a:pt x="1255713" y="714375"/>
                  </a:lnTo>
                  <a:lnTo>
                    <a:pt x="1239838" y="698500"/>
                  </a:lnTo>
                  <a:lnTo>
                    <a:pt x="1217613" y="698500"/>
                  </a:lnTo>
                  <a:lnTo>
                    <a:pt x="1189038" y="698500"/>
                  </a:lnTo>
                  <a:lnTo>
                    <a:pt x="1169988" y="733425"/>
                  </a:lnTo>
                  <a:lnTo>
                    <a:pt x="1135063" y="723900"/>
                  </a:lnTo>
                  <a:lnTo>
                    <a:pt x="1093788" y="723900"/>
                  </a:lnTo>
                  <a:lnTo>
                    <a:pt x="1093788" y="723900"/>
                  </a:lnTo>
                  <a:lnTo>
                    <a:pt x="1039813" y="723900"/>
                  </a:lnTo>
                  <a:lnTo>
                    <a:pt x="1014413" y="736600"/>
                  </a:lnTo>
                  <a:lnTo>
                    <a:pt x="973138" y="730250"/>
                  </a:lnTo>
                  <a:lnTo>
                    <a:pt x="941388" y="749300"/>
                  </a:lnTo>
                  <a:lnTo>
                    <a:pt x="893763" y="752475"/>
                  </a:lnTo>
                  <a:lnTo>
                    <a:pt x="865188" y="787400"/>
                  </a:lnTo>
                  <a:lnTo>
                    <a:pt x="820738" y="790575"/>
                  </a:lnTo>
                  <a:lnTo>
                    <a:pt x="757238" y="812800"/>
                  </a:lnTo>
                  <a:lnTo>
                    <a:pt x="706438" y="857250"/>
                  </a:lnTo>
                  <a:lnTo>
                    <a:pt x="677863" y="873125"/>
                  </a:lnTo>
                  <a:lnTo>
                    <a:pt x="646113" y="869950"/>
                  </a:lnTo>
                  <a:lnTo>
                    <a:pt x="627063" y="901700"/>
                  </a:lnTo>
                  <a:lnTo>
                    <a:pt x="601663" y="892175"/>
                  </a:lnTo>
                  <a:lnTo>
                    <a:pt x="585788" y="895350"/>
                  </a:lnTo>
                  <a:lnTo>
                    <a:pt x="550863" y="936625"/>
                  </a:lnTo>
                  <a:lnTo>
                    <a:pt x="442913" y="936625"/>
                  </a:lnTo>
                  <a:lnTo>
                    <a:pt x="430213" y="968375"/>
                  </a:lnTo>
                  <a:lnTo>
                    <a:pt x="407988" y="965200"/>
                  </a:lnTo>
                  <a:lnTo>
                    <a:pt x="392113" y="993775"/>
                  </a:lnTo>
                  <a:lnTo>
                    <a:pt x="360363" y="993775"/>
                  </a:lnTo>
                  <a:lnTo>
                    <a:pt x="344488" y="996950"/>
                  </a:lnTo>
                  <a:lnTo>
                    <a:pt x="331788" y="1019175"/>
                  </a:lnTo>
                  <a:lnTo>
                    <a:pt x="290513" y="1009650"/>
                  </a:lnTo>
                  <a:lnTo>
                    <a:pt x="271463" y="1035050"/>
                  </a:lnTo>
                  <a:lnTo>
                    <a:pt x="265113" y="1050925"/>
                  </a:lnTo>
                  <a:lnTo>
                    <a:pt x="192088" y="1069975"/>
                  </a:lnTo>
                  <a:lnTo>
                    <a:pt x="141288" y="1098550"/>
                  </a:lnTo>
                  <a:lnTo>
                    <a:pt x="96838" y="1177925"/>
                  </a:lnTo>
                  <a:lnTo>
                    <a:pt x="77788" y="1193800"/>
                  </a:lnTo>
                  <a:lnTo>
                    <a:pt x="46038" y="1225550"/>
                  </a:lnTo>
                  <a:cubicBezTo>
                    <a:pt x="35455" y="1235075"/>
                    <a:pt x="10583" y="1285081"/>
                    <a:pt x="0" y="1294606"/>
                  </a:cubicBezTo>
                </a:path>
              </a:pathLst>
            </a:custGeom>
            <a:noFill/>
            <a:ln w="254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27" name="Picture 249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20491" y="2596230"/>
              <a:ext cx="239324" cy="244697"/>
            </a:xfrm>
            <a:prstGeom prst="rect">
              <a:avLst/>
            </a:prstGeom>
            <a:noFill/>
          </p:spPr>
        </p:pic>
        <p:pic>
          <p:nvPicPr>
            <p:cNvPr id="28" name="Picture 251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54149" y="3167161"/>
              <a:ext cx="239324" cy="244697"/>
            </a:xfrm>
            <a:prstGeom prst="rect">
              <a:avLst/>
            </a:prstGeom>
            <a:noFill/>
          </p:spPr>
        </p:pic>
        <p:sp>
          <p:nvSpPr>
            <p:cNvPr id="29" name="Freeform 252"/>
            <p:cNvSpPr/>
            <p:nvPr/>
          </p:nvSpPr>
          <p:spPr>
            <a:xfrm>
              <a:off x="6646416" y="3068467"/>
              <a:ext cx="135467" cy="618067"/>
            </a:xfrm>
            <a:custGeom>
              <a:avLst/>
              <a:gdLst>
                <a:gd name="connsiteX0" fmla="*/ 0 w 101600"/>
                <a:gd name="connsiteY0" fmla="*/ 0 h 463550"/>
                <a:gd name="connsiteX1" fmla="*/ 9525 w 101600"/>
                <a:gd name="connsiteY1" fmla="*/ 82550 h 463550"/>
                <a:gd name="connsiteX2" fmla="*/ 57150 w 101600"/>
                <a:gd name="connsiteY2" fmla="*/ 107950 h 463550"/>
                <a:gd name="connsiteX3" fmla="*/ 76200 w 101600"/>
                <a:gd name="connsiteY3" fmla="*/ 120650 h 463550"/>
                <a:gd name="connsiteX4" fmla="*/ 92075 w 101600"/>
                <a:gd name="connsiteY4" fmla="*/ 152400 h 463550"/>
                <a:gd name="connsiteX5" fmla="*/ 95250 w 101600"/>
                <a:gd name="connsiteY5" fmla="*/ 187325 h 463550"/>
                <a:gd name="connsiteX6" fmla="*/ 88900 w 101600"/>
                <a:gd name="connsiteY6" fmla="*/ 244475 h 463550"/>
                <a:gd name="connsiteX7" fmla="*/ 63500 w 101600"/>
                <a:gd name="connsiteY7" fmla="*/ 285750 h 463550"/>
                <a:gd name="connsiteX8" fmla="*/ 34925 w 101600"/>
                <a:gd name="connsiteY8" fmla="*/ 317500 h 463550"/>
                <a:gd name="connsiteX9" fmla="*/ 57150 w 101600"/>
                <a:gd name="connsiteY9" fmla="*/ 346075 h 463550"/>
                <a:gd name="connsiteX10" fmla="*/ 79375 w 101600"/>
                <a:gd name="connsiteY10" fmla="*/ 390525 h 463550"/>
                <a:gd name="connsiteX11" fmla="*/ 85725 w 101600"/>
                <a:gd name="connsiteY11" fmla="*/ 422275 h 463550"/>
                <a:gd name="connsiteX12" fmla="*/ 95250 w 101600"/>
                <a:gd name="connsiteY12" fmla="*/ 450850 h 463550"/>
                <a:gd name="connsiteX13" fmla="*/ 101600 w 101600"/>
                <a:gd name="connsiteY13" fmla="*/ 463550 h 46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1600" h="463550">
                  <a:moveTo>
                    <a:pt x="0" y="0"/>
                  </a:moveTo>
                  <a:lnTo>
                    <a:pt x="9525" y="82550"/>
                  </a:lnTo>
                  <a:lnTo>
                    <a:pt x="57150" y="107950"/>
                  </a:lnTo>
                  <a:lnTo>
                    <a:pt x="76200" y="120650"/>
                  </a:lnTo>
                  <a:lnTo>
                    <a:pt x="92075" y="152400"/>
                  </a:lnTo>
                  <a:lnTo>
                    <a:pt x="95250" y="187325"/>
                  </a:lnTo>
                  <a:lnTo>
                    <a:pt x="88900" y="244475"/>
                  </a:lnTo>
                  <a:lnTo>
                    <a:pt x="63500" y="285750"/>
                  </a:lnTo>
                  <a:lnTo>
                    <a:pt x="34925" y="317500"/>
                  </a:lnTo>
                  <a:lnTo>
                    <a:pt x="57150" y="346075"/>
                  </a:lnTo>
                  <a:lnTo>
                    <a:pt x="79375" y="390525"/>
                  </a:lnTo>
                  <a:lnTo>
                    <a:pt x="85725" y="422275"/>
                  </a:lnTo>
                  <a:lnTo>
                    <a:pt x="95250" y="450850"/>
                  </a:lnTo>
                  <a:lnTo>
                    <a:pt x="101600" y="463550"/>
                  </a:lnTo>
                </a:path>
              </a:pathLst>
            </a:custGeom>
            <a:noFill/>
            <a:ln w="2540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0958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0" name="Isosceles Triangle 111"/>
            <p:cNvSpPr/>
            <p:nvPr/>
          </p:nvSpPr>
          <p:spPr>
            <a:xfrm>
              <a:off x="5822980" y="4582281"/>
              <a:ext cx="229235" cy="193363"/>
            </a:xfrm>
            <a:prstGeom prst="triangle">
              <a:avLst/>
            </a:prstGeom>
            <a:solidFill>
              <a:srgbClr val="F79646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kern="0" dirty="0">
                  <a:solidFill>
                    <a:prstClr val="white"/>
                  </a:solidFill>
                  <a:latin typeface="Calibri"/>
                </a:rPr>
                <a:t>7</a:t>
              </a:r>
            </a:p>
          </p:txBody>
        </p:sp>
        <p:sp>
          <p:nvSpPr>
            <p:cNvPr id="31" name="Freeform 1"/>
            <p:cNvSpPr/>
            <p:nvPr/>
          </p:nvSpPr>
          <p:spPr>
            <a:xfrm>
              <a:off x="6518357" y="2355152"/>
              <a:ext cx="914400" cy="654049"/>
            </a:xfrm>
            <a:custGeom>
              <a:avLst/>
              <a:gdLst>
                <a:gd name="connsiteX0" fmla="*/ 0 w 685800"/>
                <a:gd name="connsiteY0" fmla="*/ 490537 h 490537"/>
                <a:gd name="connsiteX1" fmla="*/ 35719 w 685800"/>
                <a:gd name="connsiteY1" fmla="*/ 435768 h 490537"/>
                <a:gd name="connsiteX2" fmla="*/ 95250 w 685800"/>
                <a:gd name="connsiteY2" fmla="*/ 416718 h 490537"/>
                <a:gd name="connsiteX3" fmla="*/ 128588 w 685800"/>
                <a:gd name="connsiteY3" fmla="*/ 369093 h 490537"/>
                <a:gd name="connsiteX4" fmla="*/ 107157 w 685800"/>
                <a:gd name="connsiteY4" fmla="*/ 340518 h 490537"/>
                <a:gd name="connsiteX5" fmla="*/ 150019 w 685800"/>
                <a:gd name="connsiteY5" fmla="*/ 333375 h 490537"/>
                <a:gd name="connsiteX6" fmla="*/ 178594 w 685800"/>
                <a:gd name="connsiteY6" fmla="*/ 309562 h 490537"/>
                <a:gd name="connsiteX7" fmla="*/ 223838 w 685800"/>
                <a:gd name="connsiteY7" fmla="*/ 292893 h 490537"/>
                <a:gd name="connsiteX8" fmla="*/ 266700 w 685800"/>
                <a:gd name="connsiteY8" fmla="*/ 238125 h 490537"/>
                <a:gd name="connsiteX9" fmla="*/ 276225 w 685800"/>
                <a:gd name="connsiteY9" fmla="*/ 235743 h 490537"/>
                <a:gd name="connsiteX10" fmla="*/ 311944 w 685800"/>
                <a:gd name="connsiteY10" fmla="*/ 226218 h 490537"/>
                <a:gd name="connsiteX11" fmla="*/ 333375 w 685800"/>
                <a:gd name="connsiteY11" fmla="*/ 228600 h 490537"/>
                <a:gd name="connsiteX12" fmla="*/ 371475 w 685800"/>
                <a:gd name="connsiteY12" fmla="*/ 228600 h 490537"/>
                <a:gd name="connsiteX13" fmla="*/ 407194 w 685800"/>
                <a:gd name="connsiteY13" fmla="*/ 180975 h 490537"/>
                <a:gd name="connsiteX14" fmla="*/ 461963 w 685800"/>
                <a:gd name="connsiteY14" fmla="*/ 157162 h 490537"/>
                <a:gd name="connsiteX15" fmla="*/ 507207 w 685800"/>
                <a:gd name="connsiteY15" fmla="*/ 128587 h 490537"/>
                <a:gd name="connsiteX16" fmla="*/ 547688 w 685800"/>
                <a:gd name="connsiteY16" fmla="*/ 90487 h 490537"/>
                <a:gd name="connsiteX17" fmla="*/ 588169 w 685800"/>
                <a:gd name="connsiteY17" fmla="*/ 54768 h 490537"/>
                <a:gd name="connsiteX18" fmla="*/ 616744 w 685800"/>
                <a:gd name="connsiteY18" fmla="*/ 54768 h 490537"/>
                <a:gd name="connsiteX19" fmla="*/ 640557 w 685800"/>
                <a:gd name="connsiteY19" fmla="*/ 54768 h 490537"/>
                <a:gd name="connsiteX20" fmla="*/ 685800 w 685800"/>
                <a:gd name="connsiteY20" fmla="*/ 0 h 490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85800" h="490537">
                  <a:moveTo>
                    <a:pt x="0" y="490537"/>
                  </a:moveTo>
                  <a:lnTo>
                    <a:pt x="35719" y="435768"/>
                  </a:lnTo>
                  <a:lnTo>
                    <a:pt x="95250" y="416718"/>
                  </a:lnTo>
                  <a:lnTo>
                    <a:pt x="128588" y="369093"/>
                  </a:lnTo>
                  <a:lnTo>
                    <a:pt x="107157" y="340518"/>
                  </a:lnTo>
                  <a:lnTo>
                    <a:pt x="150019" y="333375"/>
                  </a:lnTo>
                  <a:lnTo>
                    <a:pt x="178594" y="309562"/>
                  </a:lnTo>
                  <a:lnTo>
                    <a:pt x="223838" y="292893"/>
                  </a:lnTo>
                  <a:lnTo>
                    <a:pt x="266700" y="238125"/>
                  </a:lnTo>
                  <a:lnTo>
                    <a:pt x="276225" y="235743"/>
                  </a:lnTo>
                  <a:lnTo>
                    <a:pt x="311944" y="226218"/>
                  </a:lnTo>
                  <a:lnTo>
                    <a:pt x="333375" y="228600"/>
                  </a:lnTo>
                  <a:lnTo>
                    <a:pt x="371475" y="228600"/>
                  </a:lnTo>
                  <a:lnTo>
                    <a:pt x="407194" y="180975"/>
                  </a:lnTo>
                  <a:lnTo>
                    <a:pt x="461963" y="157162"/>
                  </a:lnTo>
                  <a:lnTo>
                    <a:pt x="507207" y="128587"/>
                  </a:lnTo>
                  <a:lnTo>
                    <a:pt x="547688" y="90487"/>
                  </a:lnTo>
                  <a:lnTo>
                    <a:pt x="588169" y="54768"/>
                  </a:lnTo>
                  <a:lnTo>
                    <a:pt x="616744" y="54768"/>
                  </a:lnTo>
                  <a:lnTo>
                    <a:pt x="640557" y="54768"/>
                  </a:lnTo>
                  <a:lnTo>
                    <a:pt x="685800" y="0"/>
                  </a:lnTo>
                </a:path>
              </a:pathLst>
            </a:custGeom>
            <a:noFill/>
            <a:ln w="25400" cap="flat" cmpd="sng" algn="ctr">
              <a:solidFill>
                <a:srgbClr val="FFFF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2" name="Freeform 2"/>
            <p:cNvSpPr/>
            <p:nvPr/>
          </p:nvSpPr>
          <p:spPr>
            <a:xfrm>
              <a:off x="4851484" y="3523552"/>
              <a:ext cx="317499" cy="269875"/>
            </a:xfrm>
            <a:custGeom>
              <a:avLst/>
              <a:gdLst>
                <a:gd name="connsiteX0" fmla="*/ 0 w 233362"/>
                <a:gd name="connsiteY0" fmla="*/ 200025 h 200025"/>
                <a:gd name="connsiteX1" fmla="*/ 28575 w 233362"/>
                <a:gd name="connsiteY1" fmla="*/ 161925 h 200025"/>
                <a:gd name="connsiteX2" fmla="*/ 30956 w 233362"/>
                <a:gd name="connsiteY2" fmla="*/ 140493 h 200025"/>
                <a:gd name="connsiteX3" fmla="*/ 30956 w 233362"/>
                <a:gd name="connsiteY3" fmla="*/ 97631 h 200025"/>
                <a:gd name="connsiteX4" fmla="*/ 40481 w 233362"/>
                <a:gd name="connsiteY4" fmla="*/ 59531 h 200025"/>
                <a:gd name="connsiteX5" fmla="*/ 52387 w 233362"/>
                <a:gd name="connsiteY5" fmla="*/ 0 h 200025"/>
                <a:gd name="connsiteX6" fmla="*/ 126206 w 233362"/>
                <a:gd name="connsiteY6" fmla="*/ 11906 h 200025"/>
                <a:gd name="connsiteX7" fmla="*/ 166687 w 233362"/>
                <a:gd name="connsiteY7" fmla="*/ 16668 h 200025"/>
                <a:gd name="connsiteX8" fmla="*/ 221456 w 233362"/>
                <a:gd name="connsiteY8" fmla="*/ 28575 h 200025"/>
                <a:gd name="connsiteX9" fmla="*/ 233362 w 233362"/>
                <a:gd name="connsiteY9" fmla="*/ 28575 h 200025"/>
                <a:gd name="connsiteX0" fmla="*/ 0 w 250030"/>
                <a:gd name="connsiteY0" fmla="*/ 216694 h 216694"/>
                <a:gd name="connsiteX1" fmla="*/ 45243 w 250030"/>
                <a:gd name="connsiteY1" fmla="*/ 161925 h 216694"/>
                <a:gd name="connsiteX2" fmla="*/ 47624 w 250030"/>
                <a:gd name="connsiteY2" fmla="*/ 140493 h 216694"/>
                <a:gd name="connsiteX3" fmla="*/ 47624 w 250030"/>
                <a:gd name="connsiteY3" fmla="*/ 97631 h 216694"/>
                <a:gd name="connsiteX4" fmla="*/ 57149 w 250030"/>
                <a:gd name="connsiteY4" fmla="*/ 59531 h 216694"/>
                <a:gd name="connsiteX5" fmla="*/ 69055 w 250030"/>
                <a:gd name="connsiteY5" fmla="*/ 0 h 216694"/>
                <a:gd name="connsiteX6" fmla="*/ 142874 w 250030"/>
                <a:gd name="connsiteY6" fmla="*/ 11906 h 216694"/>
                <a:gd name="connsiteX7" fmla="*/ 183355 w 250030"/>
                <a:gd name="connsiteY7" fmla="*/ 16668 h 216694"/>
                <a:gd name="connsiteX8" fmla="*/ 238124 w 250030"/>
                <a:gd name="connsiteY8" fmla="*/ 28575 h 216694"/>
                <a:gd name="connsiteX9" fmla="*/ 250030 w 250030"/>
                <a:gd name="connsiteY9" fmla="*/ 28575 h 216694"/>
                <a:gd name="connsiteX0" fmla="*/ 0 w 230980"/>
                <a:gd name="connsiteY0" fmla="*/ 200025 h 200025"/>
                <a:gd name="connsiteX1" fmla="*/ 26193 w 230980"/>
                <a:gd name="connsiteY1" fmla="*/ 161925 h 200025"/>
                <a:gd name="connsiteX2" fmla="*/ 28574 w 230980"/>
                <a:gd name="connsiteY2" fmla="*/ 140493 h 200025"/>
                <a:gd name="connsiteX3" fmla="*/ 28574 w 230980"/>
                <a:gd name="connsiteY3" fmla="*/ 97631 h 200025"/>
                <a:gd name="connsiteX4" fmla="*/ 38099 w 230980"/>
                <a:gd name="connsiteY4" fmla="*/ 59531 h 200025"/>
                <a:gd name="connsiteX5" fmla="*/ 50005 w 230980"/>
                <a:gd name="connsiteY5" fmla="*/ 0 h 200025"/>
                <a:gd name="connsiteX6" fmla="*/ 123824 w 230980"/>
                <a:gd name="connsiteY6" fmla="*/ 11906 h 200025"/>
                <a:gd name="connsiteX7" fmla="*/ 164305 w 230980"/>
                <a:gd name="connsiteY7" fmla="*/ 16668 h 200025"/>
                <a:gd name="connsiteX8" fmla="*/ 219074 w 230980"/>
                <a:gd name="connsiteY8" fmla="*/ 28575 h 200025"/>
                <a:gd name="connsiteX9" fmla="*/ 230980 w 230980"/>
                <a:gd name="connsiteY9" fmla="*/ 28575 h 200025"/>
                <a:gd name="connsiteX0" fmla="*/ 0 w 238124"/>
                <a:gd name="connsiteY0" fmla="*/ 202406 h 202406"/>
                <a:gd name="connsiteX1" fmla="*/ 33337 w 238124"/>
                <a:gd name="connsiteY1" fmla="*/ 161925 h 202406"/>
                <a:gd name="connsiteX2" fmla="*/ 35718 w 238124"/>
                <a:gd name="connsiteY2" fmla="*/ 140493 h 202406"/>
                <a:gd name="connsiteX3" fmla="*/ 35718 w 238124"/>
                <a:gd name="connsiteY3" fmla="*/ 97631 h 202406"/>
                <a:gd name="connsiteX4" fmla="*/ 45243 w 238124"/>
                <a:gd name="connsiteY4" fmla="*/ 59531 h 202406"/>
                <a:gd name="connsiteX5" fmla="*/ 57149 w 238124"/>
                <a:gd name="connsiteY5" fmla="*/ 0 h 202406"/>
                <a:gd name="connsiteX6" fmla="*/ 130968 w 238124"/>
                <a:gd name="connsiteY6" fmla="*/ 11906 h 202406"/>
                <a:gd name="connsiteX7" fmla="*/ 171449 w 238124"/>
                <a:gd name="connsiteY7" fmla="*/ 16668 h 202406"/>
                <a:gd name="connsiteX8" fmla="*/ 226218 w 238124"/>
                <a:gd name="connsiteY8" fmla="*/ 28575 h 202406"/>
                <a:gd name="connsiteX9" fmla="*/ 238124 w 238124"/>
                <a:gd name="connsiteY9" fmla="*/ 28575 h 202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8124" h="202406">
                  <a:moveTo>
                    <a:pt x="0" y="202406"/>
                  </a:moveTo>
                  <a:lnTo>
                    <a:pt x="33337" y="161925"/>
                  </a:lnTo>
                  <a:lnTo>
                    <a:pt x="35718" y="140493"/>
                  </a:lnTo>
                  <a:lnTo>
                    <a:pt x="35718" y="97631"/>
                  </a:lnTo>
                  <a:lnTo>
                    <a:pt x="45243" y="59531"/>
                  </a:lnTo>
                  <a:lnTo>
                    <a:pt x="57149" y="0"/>
                  </a:lnTo>
                  <a:lnTo>
                    <a:pt x="130968" y="11906"/>
                  </a:lnTo>
                  <a:lnTo>
                    <a:pt x="171449" y="16668"/>
                  </a:lnTo>
                  <a:lnTo>
                    <a:pt x="226218" y="28575"/>
                  </a:lnTo>
                  <a:lnTo>
                    <a:pt x="238124" y="28575"/>
                  </a:lnTo>
                </a:path>
              </a:pathLst>
            </a:custGeom>
            <a:noFill/>
            <a:ln w="25400" cap="flat" cmpd="sng" algn="ctr">
              <a:solidFill>
                <a:sysClr val="windowText" lastClr="000000"/>
              </a:solidFill>
              <a:prstDash val="sysDash"/>
            </a:ln>
            <a:effectLst/>
          </p:spPr>
          <p:txBody>
            <a:bodyPr rtlCol="0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3" name="Flowchart: Decision 220"/>
            <p:cNvSpPr/>
            <p:nvPr/>
          </p:nvSpPr>
          <p:spPr>
            <a:xfrm>
              <a:off x="8982699" y="2326898"/>
              <a:ext cx="198036" cy="197988"/>
            </a:xfrm>
            <a:prstGeom prst="flowChartDecision">
              <a:avLst/>
            </a:prstGeom>
            <a:solidFill>
              <a:srgbClr val="00B0F0"/>
            </a:solidFill>
            <a:ln w="635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wrap="none" lIns="0" tIns="0" rIns="0" bIns="0" rtlCol="0" anchor="ctr"/>
            <a:lstStyle/>
            <a:p>
              <a:pPr algn="ctr" defTabSz="1219170">
                <a:defRPr/>
              </a:pPr>
              <a:r>
                <a:rPr lang="en-US" sz="1067" b="1" kern="0" dirty="0">
                  <a:solidFill>
                    <a:prstClr val="black"/>
                  </a:solidFill>
                  <a:latin typeface="Calibri"/>
                </a:rPr>
                <a:t>11</a:t>
              </a:r>
            </a:p>
          </p:txBody>
        </p:sp>
        <p:sp>
          <p:nvSpPr>
            <p:cNvPr id="34" name="Freeform 29"/>
            <p:cNvSpPr/>
            <p:nvPr/>
          </p:nvSpPr>
          <p:spPr>
            <a:xfrm>
              <a:off x="5135116" y="2971100"/>
              <a:ext cx="1091141" cy="1574800"/>
            </a:xfrm>
            <a:custGeom>
              <a:avLst/>
              <a:gdLst>
                <a:gd name="connsiteX0" fmla="*/ 0 w 771525"/>
                <a:gd name="connsiteY0" fmla="*/ 0 h 514350"/>
                <a:gd name="connsiteX1" fmla="*/ 19050 w 771525"/>
                <a:gd name="connsiteY1" fmla="*/ 50006 h 514350"/>
                <a:gd name="connsiteX2" fmla="*/ 35719 w 771525"/>
                <a:gd name="connsiteY2" fmla="*/ 69056 h 514350"/>
                <a:gd name="connsiteX3" fmla="*/ 35719 w 771525"/>
                <a:gd name="connsiteY3" fmla="*/ 123825 h 514350"/>
                <a:gd name="connsiteX4" fmla="*/ 90488 w 771525"/>
                <a:gd name="connsiteY4" fmla="*/ 178594 h 514350"/>
                <a:gd name="connsiteX5" fmla="*/ 78582 w 771525"/>
                <a:gd name="connsiteY5" fmla="*/ 202406 h 514350"/>
                <a:gd name="connsiteX6" fmla="*/ 145257 w 771525"/>
                <a:gd name="connsiteY6" fmla="*/ 242888 h 514350"/>
                <a:gd name="connsiteX7" fmla="*/ 178594 w 771525"/>
                <a:gd name="connsiteY7" fmla="*/ 266700 h 514350"/>
                <a:gd name="connsiteX8" fmla="*/ 219075 w 771525"/>
                <a:gd name="connsiteY8" fmla="*/ 314325 h 514350"/>
                <a:gd name="connsiteX9" fmla="*/ 261938 w 771525"/>
                <a:gd name="connsiteY9" fmla="*/ 321469 h 514350"/>
                <a:gd name="connsiteX10" fmla="*/ 354807 w 771525"/>
                <a:gd name="connsiteY10" fmla="*/ 323850 h 514350"/>
                <a:gd name="connsiteX11" fmla="*/ 376238 w 771525"/>
                <a:gd name="connsiteY11" fmla="*/ 319088 h 514350"/>
                <a:gd name="connsiteX12" fmla="*/ 447675 w 771525"/>
                <a:gd name="connsiteY12" fmla="*/ 345281 h 514350"/>
                <a:gd name="connsiteX13" fmla="*/ 488157 w 771525"/>
                <a:gd name="connsiteY13" fmla="*/ 354806 h 514350"/>
                <a:gd name="connsiteX14" fmla="*/ 569119 w 771525"/>
                <a:gd name="connsiteY14" fmla="*/ 397669 h 514350"/>
                <a:gd name="connsiteX15" fmla="*/ 626269 w 771525"/>
                <a:gd name="connsiteY15" fmla="*/ 428625 h 514350"/>
                <a:gd name="connsiteX16" fmla="*/ 678657 w 771525"/>
                <a:gd name="connsiteY16" fmla="*/ 461963 h 514350"/>
                <a:gd name="connsiteX17" fmla="*/ 740569 w 771525"/>
                <a:gd name="connsiteY17" fmla="*/ 495300 h 514350"/>
                <a:gd name="connsiteX18" fmla="*/ 771525 w 771525"/>
                <a:gd name="connsiteY18" fmla="*/ 514350 h 514350"/>
                <a:gd name="connsiteX0" fmla="*/ 279400 w 752475"/>
                <a:gd name="connsiteY0" fmla="*/ 0 h 1181100"/>
                <a:gd name="connsiteX1" fmla="*/ 0 w 752475"/>
                <a:gd name="connsiteY1" fmla="*/ 716756 h 1181100"/>
                <a:gd name="connsiteX2" fmla="*/ 16669 w 752475"/>
                <a:gd name="connsiteY2" fmla="*/ 735806 h 1181100"/>
                <a:gd name="connsiteX3" fmla="*/ 16669 w 752475"/>
                <a:gd name="connsiteY3" fmla="*/ 790575 h 1181100"/>
                <a:gd name="connsiteX4" fmla="*/ 71438 w 752475"/>
                <a:gd name="connsiteY4" fmla="*/ 845344 h 1181100"/>
                <a:gd name="connsiteX5" fmla="*/ 59532 w 752475"/>
                <a:gd name="connsiteY5" fmla="*/ 869156 h 1181100"/>
                <a:gd name="connsiteX6" fmla="*/ 126207 w 752475"/>
                <a:gd name="connsiteY6" fmla="*/ 909638 h 1181100"/>
                <a:gd name="connsiteX7" fmla="*/ 159544 w 752475"/>
                <a:gd name="connsiteY7" fmla="*/ 933450 h 1181100"/>
                <a:gd name="connsiteX8" fmla="*/ 200025 w 752475"/>
                <a:gd name="connsiteY8" fmla="*/ 981075 h 1181100"/>
                <a:gd name="connsiteX9" fmla="*/ 242888 w 752475"/>
                <a:gd name="connsiteY9" fmla="*/ 988219 h 1181100"/>
                <a:gd name="connsiteX10" fmla="*/ 335757 w 752475"/>
                <a:gd name="connsiteY10" fmla="*/ 990600 h 1181100"/>
                <a:gd name="connsiteX11" fmla="*/ 357188 w 752475"/>
                <a:gd name="connsiteY11" fmla="*/ 985838 h 1181100"/>
                <a:gd name="connsiteX12" fmla="*/ 428625 w 752475"/>
                <a:gd name="connsiteY12" fmla="*/ 1012031 h 1181100"/>
                <a:gd name="connsiteX13" fmla="*/ 469107 w 752475"/>
                <a:gd name="connsiteY13" fmla="*/ 1021556 h 1181100"/>
                <a:gd name="connsiteX14" fmla="*/ 550069 w 752475"/>
                <a:gd name="connsiteY14" fmla="*/ 1064419 h 1181100"/>
                <a:gd name="connsiteX15" fmla="*/ 607219 w 752475"/>
                <a:gd name="connsiteY15" fmla="*/ 1095375 h 1181100"/>
                <a:gd name="connsiteX16" fmla="*/ 659607 w 752475"/>
                <a:gd name="connsiteY16" fmla="*/ 1128713 h 1181100"/>
                <a:gd name="connsiteX17" fmla="*/ 721519 w 752475"/>
                <a:gd name="connsiteY17" fmla="*/ 1162050 h 1181100"/>
                <a:gd name="connsiteX18" fmla="*/ 752475 w 752475"/>
                <a:gd name="connsiteY18" fmla="*/ 1181100 h 1181100"/>
                <a:gd name="connsiteX0" fmla="*/ 279400 w 752475"/>
                <a:gd name="connsiteY0" fmla="*/ 0 h 1181100"/>
                <a:gd name="connsiteX1" fmla="*/ 137319 w 752475"/>
                <a:gd name="connsiteY1" fmla="*/ 79375 h 1181100"/>
                <a:gd name="connsiteX2" fmla="*/ 0 w 752475"/>
                <a:gd name="connsiteY2" fmla="*/ 716756 h 1181100"/>
                <a:gd name="connsiteX3" fmla="*/ 16669 w 752475"/>
                <a:gd name="connsiteY3" fmla="*/ 735806 h 1181100"/>
                <a:gd name="connsiteX4" fmla="*/ 16669 w 752475"/>
                <a:gd name="connsiteY4" fmla="*/ 790575 h 1181100"/>
                <a:gd name="connsiteX5" fmla="*/ 71438 w 752475"/>
                <a:gd name="connsiteY5" fmla="*/ 845344 h 1181100"/>
                <a:gd name="connsiteX6" fmla="*/ 59532 w 752475"/>
                <a:gd name="connsiteY6" fmla="*/ 869156 h 1181100"/>
                <a:gd name="connsiteX7" fmla="*/ 126207 w 752475"/>
                <a:gd name="connsiteY7" fmla="*/ 909638 h 1181100"/>
                <a:gd name="connsiteX8" fmla="*/ 159544 w 752475"/>
                <a:gd name="connsiteY8" fmla="*/ 933450 h 1181100"/>
                <a:gd name="connsiteX9" fmla="*/ 200025 w 752475"/>
                <a:gd name="connsiteY9" fmla="*/ 981075 h 1181100"/>
                <a:gd name="connsiteX10" fmla="*/ 242888 w 752475"/>
                <a:gd name="connsiteY10" fmla="*/ 988219 h 1181100"/>
                <a:gd name="connsiteX11" fmla="*/ 335757 w 752475"/>
                <a:gd name="connsiteY11" fmla="*/ 990600 h 1181100"/>
                <a:gd name="connsiteX12" fmla="*/ 357188 w 752475"/>
                <a:gd name="connsiteY12" fmla="*/ 985838 h 1181100"/>
                <a:gd name="connsiteX13" fmla="*/ 428625 w 752475"/>
                <a:gd name="connsiteY13" fmla="*/ 1012031 h 1181100"/>
                <a:gd name="connsiteX14" fmla="*/ 469107 w 752475"/>
                <a:gd name="connsiteY14" fmla="*/ 1021556 h 1181100"/>
                <a:gd name="connsiteX15" fmla="*/ 550069 w 752475"/>
                <a:gd name="connsiteY15" fmla="*/ 1064419 h 1181100"/>
                <a:gd name="connsiteX16" fmla="*/ 607219 w 752475"/>
                <a:gd name="connsiteY16" fmla="*/ 1095375 h 1181100"/>
                <a:gd name="connsiteX17" fmla="*/ 659607 w 752475"/>
                <a:gd name="connsiteY17" fmla="*/ 1128713 h 1181100"/>
                <a:gd name="connsiteX18" fmla="*/ 721519 w 752475"/>
                <a:gd name="connsiteY18" fmla="*/ 1162050 h 1181100"/>
                <a:gd name="connsiteX19" fmla="*/ 752475 w 752475"/>
                <a:gd name="connsiteY19" fmla="*/ 1181100 h 1181100"/>
                <a:gd name="connsiteX0" fmla="*/ 279400 w 752475"/>
                <a:gd name="connsiteY0" fmla="*/ 0 h 1181100"/>
                <a:gd name="connsiteX1" fmla="*/ 137319 w 752475"/>
                <a:gd name="connsiteY1" fmla="*/ 79375 h 1181100"/>
                <a:gd name="connsiteX2" fmla="*/ 61119 w 752475"/>
                <a:gd name="connsiteY2" fmla="*/ 219075 h 1181100"/>
                <a:gd name="connsiteX3" fmla="*/ 0 w 752475"/>
                <a:gd name="connsiteY3" fmla="*/ 716756 h 1181100"/>
                <a:gd name="connsiteX4" fmla="*/ 16669 w 752475"/>
                <a:gd name="connsiteY4" fmla="*/ 735806 h 1181100"/>
                <a:gd name="connsiteX5" fmla="*/ 16669 w 752475"/>
                <a:gd name="connsiteY5" fmla="*/ 790575 h 1181100"/>
                <a:gd name="connsiteX6" fmla="*/ 71438 w 752475"/>
                <a:gd name="connsiteY6" fmla="*/ 845344 h 1181100"/>
                <a:gd name="connsiteX7" fmla="*/ 59532 w 752475"/>
                <a:gd name="connsiteY7" fmla="*/ 869156 h 1181100"/>
                <a:gd name="connsiteX8" fmla="*/ 126207 w 752475"/>
                <a:gd name="connsiteY8" fmla="*/ 909638 h 1181100"/>
                <a:gd name="connsiteX9" fmla="*/ 159544 w 752475"/>
                <a:gd name="connsiteY9" fmla="*/ 933450 h 1181100"/>
                <a:gd name="connsiteX10" fmla="*/ 200025 w 752475"/>
                <a:gd name="connsiteY10" fmla="*/ 981075 h 1181100"/>
                <a:gd name="connsiteX11" fmla="*/ 242888 w 752475"/>
                <a:gd name="connsiteY11" fmla="*/ 988219 h 1181100"/>
                <a:gd name="connsiteX12" fmla="*/ 335757 w 752475"/>
                <a:gd name="connsiteY12" fmla="*/ 990600 h 1181100"/>
                <a:gd name="connsiteX13" fmla="*/ 357188 w 752475"/>
                <a:gd name="connsiteY13" fmla="*/ 985838 h 1181100"/>
                <a:gd name="connsiteX14" fmla="*/ 428625 w 752475"/>
                <a:gd name="connsiteY14" fmla="*/ 1012031 h 1181100"/>
                <a:gd name="connsiteX15" fmla="*/ 469107 w 752475"/>
                <a:gd name="connsiteY15" fmla="*/ 1021556 h 1181100"/>
                <a:gd name="connsiteX16" fmla="*/ 550069 w 752475"/>
                <a:gd name="connsiteY16" fmla="*/ 1064419 h 1181100"/>
                <a:gd name="connsiteX17" fmla="*/ 607219 w 752475"/>
                <a:gd name="connsiteY17" fmla="*/ 1095375 h 1181100"/>
                <a:gd name="connsiteX18" fmla="*/ 659607 w 752475"/>
                <a:gd name="connsiteY18" fmla="*/ 1128713 h 1181100"/>
                <a:gd name="connsiteX19" fmla="*/ 721519 w 752475"/>
                <a:gd name="connsiteY19" fmla="*/ 1162050 h 1181100"/>
                <a:gd name="connsiteX20" fmla="*/ 752475 w 752475"/>
                <a:gd name="connsiteY20" fmla="*/ 1181100 h 1181100"/>
                <a:gd name="connsiteX0" fmla="*/ 288131 w 761206"/>
                <a:gd name="connsiteY0" fmla="*/ 0 h 1181100"/>
                <a:gd name="connsiteX1" fmla="*/ 146050 w 761206"/>
                <a:gd name="connsiteY1" fmla="*/ 79375 h 1181100"/>
                <a:gd name="connsiteX2" fmla="*/ 69850 w 761206"/>
                <a:gd name="connsiteY2" fmla="*/ 219075 h 1181100"/>
                <a:gd name="connsiteX3" fmla="*/ 0 w 761206"/>
                <a:gd name="connsiteY3" fmla="*/ 320675 h 1181100"/>
                <a:gd name="connsiteX4" fmla="*/ 8731 w 761206"/>
                <a:gd name="connsiteY4" fmla="*/ 716756 h 1181100"/>
                <a:gd name="connsiteX5" fmla="*/ 25400 w 761206"/>
                <a:gd name="connsiteY5" fmla="*/ 735806 h 1181100"/>
                <a:gd name="connsiteX6" fmla="*/ 25400 w 761206"/>
                <a:gd name="connsiteY6" fmla="*/ 790575 h 1181100"/>
                <a:gd name="connsiteX7" fmla="*/ 80169 w 761206"/>
                <a:gd name="connsiteY7" fmla="*/ 845344 h 1181100"/>
                <a:gd name="connsiteX8" fmla="*/ 68263 w 761206"/>
                <a:gd name="connsiteY8" fmla="*/ 869156 h 1181100"/>
                <a:gd name="connsiteX9" fmla="*/ 134938 w 761206"/>
                <a:gd name="connsiteY9" fmla="*/ 909638 h 1181100"/>
                <a:gd name="connsiteX10" fmla="*/ 168275 w 761206"/>
                <a:gd name="connsiteY10" fmla="*/ 933450 h 1181100"/>
                <a:gd name="connsiteX11" fmla="*/ 208756 w 761206"/>
                <a:gd name="connsiteY11" fmla="*/ 981075 h 1181100"/>
                <a:gd name="connsiteX12" fmla="*/ 251619 w 761206"/>
                <a:gd name="connsiteY12" fmla="*/ 988219 h 1181100"/>
                <a:gd name="connsiteX13" fmla="*/ 344488 w 761206"/>
                <a:gd name="connsiteY13" fmla="*/ 990600 h 1181100"/>
                <a:gd name="connsiteX14" fmla="*/ 365919 w 761206"/>
                <a:gd name="connsiteY14" fmla="*/ 985838 h 1181100"/>
                <a:gd name="connsiteX15" fmla="*/ 437356 w 761206"/>
                <a:gd name="connsiteY15" fmla="*/ 1012031 h 1181100"/>
                <a:gd name="connsiteX16" fmla="*/ 477838 w 761206"/>
                <a:gd name="connsiteY16" fmla="*/ 1021556 h 1181100"/>
                <a:gd name="connsiteX17" fmla="*/ 558800 w 761206"/>
                <a:gd name="connsiteY17" fmla="*/ 1064419 h 1181100"/>
                <a:gd name="connsiteX18" fmla="*/ 615950 w 761206"/>
                <a:gd name="connsiteY18" fmla="*/ 1095375 h 1181100"/>
                <a:gd name="connsiteX19" fmla="*/ 668338 w 761206"/>
                <a:gd name="connsiteY19" fmla="*/ 1128713 h 1181100"/>
                <a:gd name="connsiteX20" fmla="*/ 730250 w 761206"/>
                <a:gd name="connsiteY20" fmla="*/ 1162050 h 1181100"/>
                <a:gd name="connsiteX21" fmla="*/ 761206 w 761206"/>
                <a:gd name="connsiteY21" fmla="*/ 1181100 h 1181100"/>
                <a:gd name="connsiteX0" fmla="*/ 345281 w 818356"/>
                <a:gd name="connsiteY0" fmla="*/ 0 h 1181100"/>
                <a:gd name="connsiteX1" fmla="*/ 203200 w 818356"/>
                <a:gd name="connsiteY1" fmla="*/ 79375 h 1181100"/>
                <a:gd name="connsiteX2" fmla="*/ 127000 w 818356"/>
                <a:gd name="connsiteY2" fmla="*/ 219075 h 1181100"/>
                <a:gd name="connsiteX3" fmla="*/ 57150 w 818356"/>
                <a:gd name="connsiteY3" fmla="*/ 320675 h 1181100"/>
                <a:gd name="connsiteX4" fmla="*/ 0 w 818356"/>
                <a:gd name="connsiteY4" fmla="*/ 390525 h 1181100"/>
                <a:gd name="connsiteX5" fmla="*/ 65881 w 818356"/>
                <a:gd name="connsiteY5" fmla="*/ 716756 h 1181100"/>
                <a:gd name="connsiteX6" fmla="*/ 82550 w 818356"/>
                <a:gd name="connsiteY6" fmla="*/ 735806 h 1181100"/>
                <a:gd name="connsiteX7" fmla="*/ 82550 w 818356"/>
                <a:gd name="connsiteY7" fmla="*/ 790575 h 1181100"/>
                <a:gd name="connsiteX8" fmla="*/ 137319 w 818356"/>
                <a:gd name="connsiteY8" fmla="*/ 845344 h 1181100"/>
                <a:gd name="connsiteX9" fmla="*/ 125413 w 818356"/>
                <a:gd name="connsiteY9" fmla="*/ 869156 h 1181100"/>
                <a:gd name="connsiteX10" fmla="*/ 192088 w 818356"/>
                <a:gd name="connsiteY10" fmla="*/ 909638 h 1181100"/>
                <a:gd name="connsiteX11" fmla="*/ 225425 w 818356"/>
                <a:gd name="connsiteY11" fmla="*/ 933450 h 1181100"/>
                <a:gd name="connsiteX12" fmla="*/ 265906 w 818356"/>
                <a:gd name="connsiteY12" fmla="*/ 981075 h 1181100"/>
                <a:gd name="connsiteX13" fmla="*/ 308769 w 818356"/>
                <a:gd name="connsiteY13" fmla="*/ 988219 h 1181100"/>
                <a:gd name="connsiteX14" fmla="*/ 401638 w 818356"/>
                <a:gd name="connsiteY14" fmla="*/ 990600 h 1181100"/>
                <a:gd name="connsiteX15" fmla="*/ 423069 w 818356"/>
                <a:gd name="connsiteY15" fmla="*/ 985838 h 1181100"/>
                <a:gd name="connsiteX16" fmla="*/ 494506 w 818356"/>
                <a:gd name="connsiteY16" fmla="*/ 1012031 h 1181100"/>
                <a:gd name="connsiteX17" fmla="*/ 534988 w 818356"/>
                <a:gd name="connsiteY17" fmla="*/ 1021556 h 1181100"/>
                <a:gd name="connsiteX18" fmla="*/ 615950 w 818356"/>
                <a:gd name="connsiteY18" fmla="*/ 1064419 h 1181100"/>
                <a:gd name="connsiteX19" fmla="*/ 673100 w 818356"/>
                <a:gd name="connsiteY19" fmla="*/ 1095375 h 1181100"/>
                <a:gd name="connsiteX20" fmla="*/ 725488 w 818356"/>
                <a:gd name="connsiteY20" fmla="*/ 1128713 h 1181100"/>
                <a:gd name="connsiteX21" fmla="*/ 787400 w 818356"/>
                <a:gd name="connsiteY21" fmla="*/ 1162050 h 1181100"/>
                <a:gd name="connsiteX22" fmla="*/ 818356 w 818356"/>
                <a:gd name="connsiteY22" fmla="*/ 1181100 h 1181100"/>
                <a:gd name="connsiteX0" fmla="*/ 345281 w 818356"/>
                <a:gd name="connsiteY0" fmla="*/ 0 h 1181100"/>
                <a:gd name="connsiteX1" fmla="*/ 203200 w 818356"/>
                <a:gd name="connsiteY1" fmla="*/ 79375 h 1181100"/>
                <a:gd name="connsiteX2" fmla="*/ 127000 w 818356"/>
                <a:gd name="connsiteY2" fmla="*/ 219075 h 1181100"/>
                <a:gd name="connsiteX3" fmla="*/ 57150 w 818356"/>
                <a:gd name="connsiteY3" fmla="*/ 320675 h 1181100"/>
                <a:gd name="connsiteX4" fmla="*/ 0 w 818356"/>
                <a:gd name="connsiteY4" fmla="*/ 390525 h 1181100"/>
                <a:gd name="connsiteX5" fmla="*/ 95250 w 818356"/>
                <a:gd name="connsiteY5" fmla="*/ 504825 h 1181100"/>
                <a:gd name="connsiteX6" fmla="*/ 65881 w 818356"/>
                <a:gd name="connsiteY6" fmla="*/ 716756 h 1181100"/>
                <a:gd name="connsiteX7" fmla="*/ 82550 w 818356"/>
                <a:gd name="connsiteY7" fmla="*/ 735806 h 1181100"/>
                <a:gd name="connsiteX8" fmla="*/ 82550 w 818356"/>
                <a:gd name="connsiteY8" fmla="*/ 790575 h 1181100"/>
                <a:gd name="connsiteX9" fmla="*/ 137319 w 818356"/>
                <a:gd name="connsiteY9" fmla="*/ 845344 h 1181100"/>
                <a:gd name="connsiteX10" fmla="*/ 125413 w 818356"/>
                <a:gd name="connsiteY10" fmla="*/ 869156 h 1181100"/>
                <a:gd name="connsiteX11" fmla="*/ 192088 w 818356"/>
                <a:gd name="connsiteY11" fmla="*/ 909638 h 1181100"/>
                <a:gd name="connsiteX12" fmla="*/ 225425 w 818356"/>
                <a:gd name="connsiteY12" fmla="*/ 933450 h 1181100"/>
                <a:gd name="connsiteX13" fmla="*/ 265906 w 818356"/>
                <a:gd name="connsiteY13" fmla="*/ 981075 h 1181100"/>
                <a:gd name="connsiteX14" fmla="*/ 308769 w 818356"/>
                <a:gd name="connsiteY14" fmla="*/ 988219 h 1181100"/>
                <a:gd name="connsiteX15" fmla="*/ 401638 w 818356"/>
                <a:gd name="connsiteY15" fmla="*/ 990600 h 1181100"/>
                <a:gd name="connsiteX16" fmla="*/ 423069 w 818356"/>
                <a:gd name="connsiteY16" fmla="*/ 985838 h 1181100"/>
                <a:gd name="connsiteX17" fmla="*/ 494506 w 818356"/>
                <a:gd name="connsiteY17" fmla="*/ 1012031 h 1181100"/>
                <a:gd name="connsiteX18" fmla="*/ 534988 w 818356"/>
                <a:gd name="connsiteY18" fmla="*/ 1021556 h 1181100"/>
                <a:gd name="connsiteX19" fmla="*/ 615950 w 818356"/>
                <a:gd name="connsiteY19" fmla="*/ 1064419 h 1181100"/>
                <a:gd name="connsiteX20" fmla="*/ 673100 w 818356"/>
                <a:gd name="connsiteY20" fmla="*/ 1095375 h 1181100"/>
                <a:gd name="connsiteX21" fmla="*/ 725488 w 818356"/>
                <a:gd name="connsiteY21" fmla="*/ 1128713 h 1181100"/>
                <a:gd name="connsiteX22" fmla="*/ 787400 w 818356"/>
                <a:gd name="connsiteY22" fmla="*/ 1162050 h 1181100"/>
                <a:gd name="connsiteX23" fmla="*/ 818356 w 818356"/>
                <a:gd name="connsiteY23" fmla="*/ 1181100 h 1181100"/>
                <a:gd name="connsiteX0" fmla="*/ 345281 w 818356"/>
                <a:gd name="connsiteY0" fmla="*/ 0 h 1181100"/>
                <a:gd name="connsiteX1" fmla="*/ 203200 w 818356"/>
                <a:gd name="connsiteY1" fmla="*/ 79375 h 1181100"/>
                <a:gd name="connsiteX2" fmla="*/ 127000 w 818356"/>
                <a:gd name="connsiteY2" fmla="*/ 219075 h 1181100"/>
                <a:gd name="connsiteX3" fmla="*/ 57150 w 818356"/>
                <a:gd name="connsiteY3" fmla="*/ 320675 h 1181100"/>
                <a:gd name="connsiteX4" fmla="*/ 0 w 818356"/>
                <a:gd name="connsiteY4" fmla="*/ 390525 h 1181100"/>
                <a:gd name="connsiteX5" fmla="*/ 95250 w 818356"/>
                <a:gd name="connsiteY5" fmla="*/ 504825 h 1181100"/>
                <a:gd name="connsiteX6" fmla="*/ 65881 w 818356"/>
                <a:gd name="connsiteY6" fmla="*/ 716756 h 1181100"/>
                <a:gd name="connsiteX7" fmla="*/ 82550 w 818356"/>
                <a:gd name="connsiteY7" fmla="*/ 735806 h 1181100"/>
                <a:gd name="connsiteX8" fmla="*/ 82550 w 818356"/>
                <a:gd name="connsiteY8" fmla="*/ 790575 h 1181100"/>
                <a:gd name="connsiteX9" fmla="*/ 137319 w 818356"/>
                <a:gd name="connsiteY9" fmla="*/ 845344 h 1181100"/>
                <a:gd name="connsiteX10" fmla="*/ 125413 w 818356"/>
                <a:gd name="connsiteY10" fmla="*/ 869156 h 1181100"/>
                <a:gd name="connsiteX11" fmla="*/ 192088 w 818356"/>
                <a:gd name="connsiteY11" fmla="*/ 909638 h 1181100"/>
                <a:gd name="connsiteX12" fmla="*/ 225425 w 818356"/>
                <a:gd name="connsiteY12" fmla="*/ 933450 h 1181100"/>
                <a:gd name="connsiteX13" fmla="*/ 265906 w 818356"/>
                <a:gd name="connsiteY13" fmla="*/ 981075 h 1181100"/>
                <a:gd name="connsiteX14" fmla="*/ 308769 w 818356"/>
                <a:gd name="connsiteY14" fmla="*/ 988219 h 1181100"/>
                <a:gd name="connsiteX15" fmla="*/ 401638 w 818356"/>
                <a:gd name="connsiteY15" fmla="*/ 990600 h 1181100"/>
                <a:gd name="connsiteX16" fmla="*/ 423069 w 818356"/>
                <a:gd name="connsiteY16" fmla="*/ 985838 h 1181100"/>
                <a:gd name="connsiteX17" fmla="*/ 494506 w 818356"/>
                <a:gd name="connsiteY17" fmla="*/ 1012031 h 1181100"/>
                <a:gd name="connsiteX18" fmla="*/ 534988 w 818356"/>
                <a:gd name="connsiteY18" fmla="*/ 1021556 h 1181100"/>
                <a:gd name="connsiteX19" fmla="*/ 615950 w 818356"/>
                <a:gd name="connsiteY19" fmla="*/ 1064419 h 1181100"/>
                <a:gd name="connsiteX20" fmla="*/ 673100 w 818356"/>
                <a:gd name="connsiteY20" fmla="*/ 1095375 h 1181100"/>
                <a:gd name="connsiteX21" fmla="*/ 725488 w 818356"/>
                <a:gd name="connsiteY21" fmla="*/ 1128713 h 1181100"/>
                <a:gd name="connsiteX22" fmla="*/ 787400 w 818356"/>
                <a:gd name="connsiteY22" fmla="*/ 1162050 h 1181100"/>
                <a:gd name="connsiteX23" fmla="*/ 818356 w 818356"/>
                <a:gd name="connsiteY23" fmla="*/ 11811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18356" h="1181100">
                  <a:moveTo>
                    <a:pt x="345281" y="0"/>
                  </a:moveTo>
                  <a:cubicBezTo>
                    <a:pt x="329671" y="37042"/>
                    <a:pt x="218810" y="42333"/>
                    <a:pt x="203200" y="79375"/>
                  </a:cubicBezTo>
                  <a:cubicBezTo>
                    <a:pt x="196850" y="125942"/>
                    <a:pt x="133350" y="172508"/>
                    <a:pt x="127000" y="219075"/>
                  </a:cubicBezTo>
                  <a:cubicBezTo>
                    <a:pt x="124883" y="248708"/>
                    <a:pt x="59267" y="291042"/>
                    <a:pt x="57150" y="320675"/>
                  </a:cubicBezTo>
                  <a:cubicBezTo>
                    <a:pt x="55033" y="341842"/>
                    <a:pt x="2117" y="369358"/>
                    <a:pt x="0" y="390525"/>
                  </a:cubicBezTo>
                  <a:cubicBezTo>
                    <a:pt x="10583" y="443442"/>
                    <a:pt x="84667" y="451908"/>
                    <a:pt x="95250" y="504825"/>
                  </a:cubicBezTo>
                  <a:cubicBezTo>
                    <a:pt x="142610" y="581819"/>
                    <a:pt x="75671" y="646112"/>
                    <a:pt x="65881" y="716756"/>
                  </a:cubicBezTo>
                  <a:lnTo>
                    <a:pt x="82550" y="735806"/>
                  </a:lnTo>
                  <a:lnTo>
                    <a:pt x="82550" y="790575"/>
                  </a:lnTo>
                  <a:lnTo>
                    <a:pt x="137319" y="845344"/>
                  </a:lnTo>
                  <a:lnTo>
                    <a:pt x="125413" y="869156"/>
                  </a:lnTo>
                  <a:lnTo>
                    <a:pt x="192088" y="909638"/>
                  </a:lnTo>
                  <a:lnTo>
                    <a:pt x="225425" y="933450"/>
                  </a:lnTo>
                  <a:lnTo>
                    <a:pt x="265906" y="981075"/>
                  </a:lnTo>
                  <a:lnTo>
                    <a:pt x="308769" y="988219"/>
                  </a:lnTo>
                  <a:lnTo>
                    <a:pt x="401638" y="990600"/>
                  </a:lnTo>
                  <a:lnTo>
                    <a:pt x="423069" y="985838"/>
                  </a:lnTo>
                  <a:lnTo>
                    <a:pt x="494506" y="1012031"/>
                  </a:lnTo>
                  <a:lnTo>
                    <a:pt x="534988" y="1021556"/>
                  </a:lnTo>
                  <a:lnTo>
                    <a:pt x="615950" y="1064419"/>
                  </a:lnTo>
                  <a:lnTo>
                    <a:pt x="673100" y="1095375"/>
                  </a:lnTo>
                  <a:lnTo>
                    <a:pt x="725488" y="1128713"/>
                  </a:lnTo>
                  <a:lnTo>
                    <a:pt x="787400" y="1162050"/>
                  </a:lnTo>
                  <a:lnTo>
                    <a:pt x="818356" y="1181100"/>
                  </a:lnTo>
                </a:path>
              </a:pathLst>
            </a:custGeom>
            <a:noFill/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35" name="Isosceles Triangle 213"/>
            <p:cNvSpPr/>
            <p:nvPr/>
          </p:nvSpPr>
          <p:spPr>
            <a:xfrm>
              <a:off x="5628329" y="4185528"/>
              <a:ext cx="229235" cy="193363"/>
            </a:xfrm>
            <a:prstGeom prst="triangle">
              <a:avLst/>
            </a:prstGeom>
            <a:solidFill>
              <a:srgbClr val="F79646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kern="0" dirty="0">
                  <a:solidFill>
                    <a:prstClr val="white"/>
                  </a:solidFill>
                  <a:latin typeface="Calibri"/>
                </a:rPr>
                <a:t>6</a:t>
              </a:r>
            </a:p>
          </p:txBody>
        </p:sp>
        <p:sp>
          <p:nvSpPr>
            <p:cNvPr id="36" name="Isosceles Triangle 280"/>
            <p:cNvSpPr/>
            <p:nvPr/>
          </p:nvSpPr>
          <p:spPr>
            <a:xfrm>
              <a:off x="5461460" y="2881048"/>
              <a:ext cx="229235" cy="193363"/>
            </a:xfrm>
            <a:prstGeom prst="triangle">
              <a:avLst/>
            </a:prstGeom>
            <a:solidFill>
              <a:srgbClr val="F79646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kern="0" dirty="0">
                  <a:solidFill>
                    <a:prstClr val="white"/>
                  </a:solidFill>
                  <a:latin typeface="Calibri"/>
                </a:rPr>
                <a:t>4</a:t>
              </a:r>
            </a:p>
          </p:txBody>
        </p:sp>
        <p:pic>
          <p:nvPicPr>
            <p:cNvPr id="37" name="Picture 202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81498" y="2881650"/>
              <a:ext cx="180767" cy="150117"/>
            </a:xfrm>
            <a:prstGeom prst="rect">
              <a:avLst/>
            </a:prstGeom>
            <a:solidFill>
              <a:srgbClr val="0070C0"/>
            </a:solidFill>
          </p:spPr>
        </p:pic>
        <p:pic>
          <p:nvPicPr>
            <p:cNvPr id="38" name="Picture 124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5679" y="6045446"/>
              <a:ext cx="239324" cy="244697"/>
            </a:xfrm>
            <a:prstGeom prst="rect">
              <a:avLst/>
            </a:prstGeom>
            <a:noFill/>
          </p:spPr>
        </p:pic>
        <p:sp>
          <p:nvSpPr>
            <p:cNvPr id="39" name="Freeform 121"/>
            <p:cNvSpPr/>
            <p:nvPr/>
          </p:nvSpPr>
          <p:spPr>
            <a:xfrm>
              <a:off x="2764005" y="3028264"/>
              <a:ext cx="841448" cy="3006725"/>
            </a:xfrm>
            <a:custGeom>
              <a:avLst/>
              <a:gdLst>
                <a:gd name="connsiteX0" fmla="*/ 0 w 423863"/>
                <a:gd name="connsiteY0" fmla="*/ 0 h 531019"/>
                <a:gd name="connsiteX1" fmla="*/ 23813 w 423863"/>
                <a:gd name="connsiteY1" fmla="*/ 50006 h 531019"/>
                <a:gd name="connsiteX2" fmla="*/ 16669 w 423863"/>
                <a:gd name="connsiteY2" fmla="*/ 88106 h 531019"/>
                <a:gd name="connsiteX3" fmla="*/ 42863 w 423863"/>
                <a:gd name="connsiteY3" fmla="*/ 121444 h 531019"/>
                <a:gd name="connsiteX4" fmla="*/ 114300 w 423863"/>
                <a:gd name="connsiteY4" fmla="*/ 150019 h 531019"/>
                <a:gd name="connsiteX5" fmla="*/ 121444 w 423863"/>
                <a:gd name="connsiteY5" fmla="*/ 166688 h 531019"/>
                <a:gd name="connsiteX6" fmla="*/ 135731 w 423863"/>
                <a:gd name="connsiteY6" fmla="*/ 185738 h 531019"/>
                <a:gd name="connsiteX7" fmla="*/ 192881 w 423863"/>
                <a:gd name="connsiteY7" fmla="*/ 204788 h 531019"/>
                <a:gd name="connsiteX8" fmla="*/ 240506 w 423863"/>
                <a:gd name="connsiteY8" fmla="*/ 245269 h 531019"/>
                <a:gd name="connsiteX9" fmla="*/ 297656 w 423863"/>
                <a:gd name="connsiteY9" fmla="*/ 276225 h 531019"/>
                <a:gd name="connsiteX10" fmla="*/ 330994 w 423863"/>
                <a:gd name="connsiteY10" fmla="*/ 290513 h 531019"/>
                <a:gd name="connsiteX11" fmla="*/ 350044 w 423863"/>
                <a:gd name="connsiteY11" fmla="*/ 307181 h 531019"/>
                <a:gd name="connsiteX12" fmla="*/ 376238 w 423863"/>
                <a:gd name="connsiteY12" fmla="*/ 328613 h 531019"/>
                <a:gd name="connsiteX13" fmla="*/ 381000 w 423863"/>
                <a:gd name="connsiteY13" fmla="*/ 340519 h 531019"/>
                <a:gd name="connsiteX14" fmla="*/ 376238 w 423863"/>
                <a:gd name="connsiteY14" fmla="*/ 383381 h 531019"/>
                <a:gd name="connsiteX15" fmla="*/ 392906 w 423863"/>
                <a:gd name="connsiteY15" fmla="*/ 409575 h 531019"/>
                <a:gd name="connsiteX16" fmla="*/ 409575 w 423863"/>
                <a:gd name="connsiteY16" fmla="*/ 452438 h 531019"/>
                <a:gd name="connsiteX17" fmla="*/ 423863 w 423863"/>
                <a:gd name="connsiteY17" fmla="*/ 483394 h 531019"/>
                <a:gd name="connsiteX18" fmla="*/ 414338 w 423863"/>
                <a:gd name="connsiteY18" fmla="*/ 507206 h 531019"/>
                <a:gd name="connsiteX19" fmla="*/ 409575 w 423863"/>
                <a:gd name="connsiteY19" fmla="*/ 531019 h 531019"/>
                <a:gd name="connsiteX0" fmla="*/ 38100 w 461963"/>
                <a:gd name="connsiteY0" fmla="*/ 0 h 2255044"/>
                <a:gd name="connsiteX1" fmla="*/ 61913 w 461963"/>
                <a:gd name="connsiteY1" fmla="*/ 50006 h 2255044"/>
                <a:gd name="connsiteX2" fmla="*/ 54769 w 461963"/>
                <a:gd name="connsiteY2" fmla="*/ 88106 h 2255044"/>
                <a:gd name="connsiteX3" fmla="*/ 80963 w 461963"/>
                <a:gd name="connsiteY3" fmla="*/ 121444 h 2255044"/>
                <a:gd name="connsiteX4" fmla="*/ 152400 w 461963"/>
                <a:gd name="connsiteY4" fmla="*/ 150019 h 2255044"/>
                <a:gd name="connsiteX5" fmla="*/ 159544 w 461963"/>
                <a:gd name="connsiteY5" fmla="*/ 166688 h 2255044"/>
                <a:gd name="connsiteX6" fmla="*/ 173831 w 461963"/>
                <a:gd name="connsiteY6" fmla="*/ 185738 h 2255044"/>
                <a:gd name="connsiteX7" fmla="*/ 230981 w 461963"/>
                <a:gd name="connsiteY7" fmla="*/ 204788 h 2255044"/>
                <a:gd name="connsiteX8" fmla="*/ 278606 w 461963"/>
                <a:gd name="connsiteY8" fmla="*/ 245269 h 2255044"/>
                <a:gd name="connsiteX9" fmla="*/ 335756 w 461963"/>
                <a:gd name="connsiteY9" fmla="*/ 276225 h 2255044"/>
                <a:gd name="connsiteX10" fmla="*/ 369094 w 461963"/>
                <a:gd name="connsiteY10" fmla="*/ 290513 h 2255044"/>
                <a:gd name="connsiteX11" fmla="*/ 388144 w 461963"/>
                <a:gd name="connsiteY11" fmla="*/ 307181 h 2255044"/>
                <a:gd name="connsiteX12" fmla="*/ 414338 w 461963"/>
                <a:gd name="connsiteY12" fmla="*/ 328613 h 2255044"/>
                <a:gd name="connsiteX13" fmla="*/ 419100 w 461963"/>
                <a:gd name="connsiteY13" fmla="*/ 340519 h 2255044"/>
                <a:gd name="connsiteX14" fmla="*/ 414338 w 461963"/>
                <a:gd name="connsiteY14" fmla="*/ 383381 h 2255044"/>
                <a:gd name="connsiteX15" fmla="*/ 431006 w 461963"/>
                <a:gd name="connsiteY15" fmla="*/ 409575 h 2255044"/>
                <a:gd name="connsiteX16" fmla="*/ 447675 w 461963"/>
                <a:gd name="connsiteY16" fmla="*/ 452438 h 2255044"/>
                <a:gd name="connsiteX17" fmla="*/ 461963 w 461963"/>
                <a:gd name="connsiteY17" fmla="*/ 483394 h 2255044"/>
                <a:gd name="connsiteX18" fmla="*/ 452438 w 461963"/>
                <a:gd name="connsiteY18" fmla="*/ 507206 h 2255044"/>
                <a:gd name="connsiteX19" fmla="*/ 0 w 461963"/>
                <a:gd name="connsiteY19" fmla="*/ 2255044 h 2255044"/>
                <a:gd name="connsiteX0" fmla="*/ 38100 w 482613"/>
                <a:gd name="connsiteY0" fmla="*/ 0 h 2255044"/>
                <a:gd name="connsiteX1" fmla="*/ 61913 w 482613"/>
                <a:gd name="connsiteY1" fmla="*/ 50006 h 2255044"/>
                <a:gd name="connsiteX2" fmla="*/ 54769 w 482613"/>
                <a:gd name="connsiteY2" fmla="*/ 88106 h 2255044"/>
                <a:gd name="connsiteX3" fmla="*/ 80963 w 482613"/>
                <a:gd name="connsiteY3" fmla="*/ 121444 h 2255044"/>
                <a:gd name="connsiteX4" fmla="*/ 152400 w 482613"/>
                <a:gd name="connsiteY4" fmla="*/ 150019 h 2255044"/>
                <a:gd name="connsiteX5" fmla="*/ 159544 w 482613"/>
                <a:gd name="connsiteY5" fmla="*/ 166688 h 2255044"/>
                <a:gd name="connsiteX6" fmla="*/ 173831 w 482613"/>
                <a:gd name="connsiteY6" fmla="*/ 185738 h 2255044"/>
                <a:gd name="connsiteX7" fmla="*/ 230981 w 482613"/>
                <a:gd name="connsiteY7" fmla="*/ 204788 h 2255044"/>
                <a:gd name="connsiteX8" fmla="*/ 278606 w 482613"/>
                <a:gd name="connsiteY8" fmla="*/ 245269 h 2255044"/>
                <a:gd name="connsiteX9" fmla="*/ 335756 w 482613"/>
                <a:gd name="connsiteY9" fmla="*/ 276225 h 2255044"/>
                <a:gd name="connsiteX10" fmla="*/ 369094 w 482613"/>
                <a:gd name="connsiteY10" fmla="*/ 290513 h 2255044"/>
                <a:gd name="connsiteX11" fmla="*/ 388144 w 482613"/>
                <a:gd name="connsiteY11" fmla="*/ 307181 h 2255044"/>
                <a:gd name="connsiteX12" fmla="*/ 414338 w 482613"/>
                <a:gd name="connsiteY12" fmla="*/ 328613 h 2255044"/>
                <a:gd name="connsiteX13" fmla="*/ 419100 w 482613"/>
                <a:gd name="connsiteY13" fmla="*/ 340519 h 2255044"/>
                <a:gd name="connsiteX14" fmla="*/ 414338 w 482613"/>
                <a:gd name="connsiteY14" fmla="*/ 383381 h 2255044"/>
                <a:gd name="connsiteX15" fmla="*/ 431006 w 482613"/>
                <a:gd name="connsiteY15" fmla="*/ 409575 h 2255044"/>
                <a:gd name="connsiteX16" fmla="*/ 447675 w 482613"/>
                <a:gd name="connsiteY16" fmla="*/ 452438 h 2255044"/>
                <a:gd name="connsiteX17" fmla="*/ 461963 w 482613"/>
                <a:gd name="connsiteY17" fmla="*/ 483394 h 2255044"/>
                <a:gd name="connsiteX18" fmla="*/ 452438 w 482613"/>
                <a:gd name="connsiteY18" fmla="*/ 507206 h 2255044"/>
                <a:gd name="connsiteX19" fmla="*/ 481013 w 482613"/>
                <a:gd name="connsiteY19" fmla="*/ 647699 h 2255044"/>
                <a:gd name="connsiteX20" fmla="*/ 0 w 482613"/>
                <a:gd name="connsiteY20" fmla="*/ 2255044 h 2255044"/>
                <a:gd name="connsiteX0" fmla="*/ 38100 w 524614"/>
                <a:gd name="connsiteY0" fmla="*/ 0 h 2255044"/>
                <a:gd name="connsiteX1" fmla="*/ 61913 w 524614"/>
                <a:gd name="connsiteY1" fmla="*/ 50006 h 2255044"/>
                <a:gd name="connsiteX2" fmla="*/ 54769 w 524614"/>
                <a:gd name="connsiteY2" fmla="*/ 88106 h 2255044"/>
                <a:gd name="connsiteX3" fmla="*/ 80963 w 524614"/>
                <a:gd name="connsiteY3" fmla="*/ 121444 h 2255044"/>
                <a:gd name="connsiteX4" fmla="*/ 152400 w 524614"/>
                <a:gd name="connsiteY4" fmla="*/ 150019 h 2255044"/>
                <a:gd name="connsiteX5" fmla="*/ 159544 w 524614"/>
                <a:gd name="connsiteY5" fmla="*/ 166688 h 2255044"/>
                <a:gd name="connsiteX6" fmla="*/ 173831 w 524614"/>
                <a:gd name="connsiteY6" fmla="*/ 185738 h 2255044"/>
                <a:gd name="connsiteX7" fmla="*/ 230981 w 524614"/>
                <a:gd name="connsiteY7" fmla="*/ 204788 h 2255044"/>
                <a:gd name="connsiteX8" fmla="*/ 278606 w 524614"/>
                <a:gd name="connsiteY8" fmla="*/ 245269 h 2255044"/>
                <a:gd name="connsiteX9" fmla="*/ 335756 w 524614"/>
                <a:gd name="connsiteY9" fmla="*/ 276225 h 2255044"/>
                <a:gd name="connsiteX10" fmla="*/ 369094 w 524614"/>
                <a:gd name="connsiteY10" fmla="*/ 290513 h 2255044"/>
                <a:gd name="connsiteX11" fmla="*/ 388144 w 524614"/>
                <a:gd name="connsiteY11" fmla="*/ 307181 h 2255044"/>
                <a:gd name="connsiteX12" fmla="*/ 414338 w 524614"/>
                <a:gd name="connsiteY12" fmla="*/ 328613 h 2255044"/>
                <a:gd name="connsiteX13" fmla="*/ 419100 w 524614"/>
                <a:gd name="connsiteY13" fmla="*/ 340519 h 2255044"/>
                <a:gd name="connsiteX14" fmla="*/ 414338 w 524614"/>
                <a:gd name="connsiteY14" fmla="*/ 383381 h 2255044"/>
                <a:gd name="connsiteX15" fmla="*/ 431006 w 524614"/>
                <a:gd name="connsiteY15" fmla="*/ 409575 h 2255044"/>
                <a:gd name="connsiteX16" fmla="*/ 447675 w 524614"/>
                <a:gd name="connsiteY16" fmla="*/ 452438 h 2255044"/>
                <a:gd name="connsiteX17" fmla="*/ 461963 w 524614"/>
                <a:gd name="connsiteY17" fmla="*/ 483394 h 2255044"/>
                <a:gd name="connsiteX18" fmla="*/ 452438 w 524614"/>
                <a:gd name="connsiteY18" fmla="*/ 507206 h 2255044"/>
                <a:gd name="connsiteX19" fmla="*/ 481013 w 524614"/>
                <a:gd name="connsiteY19" fmla="*/ 647699 h 2255044"/>
                <a:gd name="connsiteX20" fmla="*/ 523875 w 524614"/>
                <a:gd name="connsiteY20" fmla="*/ 723899 h 2255044"/>
                <a:gd name="connsiteX21" fmla="*/ 0 w 524614"/>
                <a:gd name="connsiteY21" fmla="*/ 2255044 h 2255044"/>
                <a:gd name="connsiteX0" fmla="*/ 38100 w 595514"/>
                <a:gd name="connsiteY0" fmla="*/ 0 h 2255044"/>
                <a:gd name="connsiteX1" fmla="*/ 61913 w 595514"/>
                <a:gd name="connsiteY1" fmla="*/ 50006 h 2255044"/>
                <a:gd name="connsiteX2" fmla="*/ 54769 w 595514"/>
                <a:gd name="connsiteY2" fmla="*/ 88106 h 2255044"/>
                <a:gd name="connsiteX3" fmla="*/ 80963 w 595514"/>
                <a:gd name="connsiteY3" fmla="*/ 121444 h 2255044"/>
                <a:gd name="connsiteX4" fmla="*/ 152400 w 595514"/>
                <a:gd name="connsiteY4" fmla="*/ 150019 h 2255044"/>
                <a:gd name="connsiteX5" fmla="*/ 159544 w 595514"/>
                <a:gd name="connsiteY5" fmla="*/ 166688 h 2255044"/>
                <a:gd name="connsiteX6" fmla="*/ 173831 w 595514"/>
                <a:gd name="connsiteY6" fmla="*/ 185738 h 2255044"/>
                <a:gd name="connsiteX7" fmla="*/ 230981 w 595514"/>
                <a:gd name="connsiteY7" fmla="*/ 204788 h 2255044"/>
                <a:gd name="connsiteX8" fmla="*/ 278606 w 595514"/>
                <a:gd name="connsiteY8" fmla="*/ 245269 h 2255044"/>
                <a:gd name="connsiteX9" fmla="*/ 335756 w 595514"/>
                <a:gd name="connsiteY9" fmla="*/ 276225 h 2255044"/>
                <a:gd name="connsiteX10" fmla="*/ 369094 w 595514"/>
                <a:gd name="connsiteY10" fmla="*/ 290513 h 2255044"/>
                <a:gd name="connsiteX11" fmla="*/ 388144 w 595514"/>
                <a:gd name="connsiteY11" fmla="*/ 307181 h 2255044"/>
                <a:gd name="connsiteX12" fmla="*/ 414338 w 595514"/>
                <a:gd name="connsiteY12" fmla="*/ 328613 h 2255044"/>
                <a:gd name="connsiteX13" fmla="*/ 419100 w 595514"/>
                <a:gd name="connsiteY13" fmla="*/ 340519 h 2255044"/>
                <a:gd name="connsiteX14" fmla="*/ 414338 w 595514"/>
                <a:gd name="connsiteY14" fmla="*/ 383381 h 2255044"/>
                <a:gd name="connsiteX15" fmla="*/ 431006 w 595514"/>
                <a:gd name="connsiteY15" fmla="*/ 409575 h 2255044"/>
                <a:gd name="connsiteX16" fmla="*/ 447675 w 595514"/>
                <a:gd name="connsiteY16" fmla="*/ 452438 h 2255044"/>
                <a:gd name="connsiteX17" fmla="*/ 461963 w 595514"/>
                <a:gd name="connsiteY17" fmla="*/ 483394 h 2255044"/>
                <a:gd name="connsiteX18" fmla="*/ 452438 w 595514"/>
                <a:gd name="connsiteY18" fmla="*/ 507206 h 2255044"/>
                <a:gd name="connsiteX19" fmla="*/ 481013 w 595514"/>
                <a:gd name="connsiteY19" fmla="*/ 647699 h 2255044"/>
                <a:gd name="connsiteX20" fmla="*/ 523875 w 595514"/>
                <a:gd name="connsiteY20" fmla="*/ 723899 h 2255044"/>
                <a:gd name="connsiteX21" fmla="*/ 595312 w 595514"/>
                <a:gd name="connsiteY21" fmla="*/ 752474 h 2255044"/>
                <a:gd name="connsiteX22" fmla="*/ 0 w 595514"/>
                <a:gd name="connsiteY22" fmla="*/ 2255044 h 2255044"/>
                <a:gd name="connsiteX0" fmla="*/ 57151 w 614565"/>
                <a:gd name="connsiteY0" fmla="*/ 0 h 2255044"/>
                <a:gd name="connsiteX1" fmla="*/ 80964 w 614565"/>
                <a:gd name="connsiteY1" fmla="*/ 50006 h 2255044"/>
                <a:gd name="connsiteX2" fmla="*/ 73820 w 614565"/>
                <a:gd name="connsiteY2" fmla="*/ 88106 h 2255044"/>
                <a:gd name="connsiteX3" fmla="*/ 100014 w 614565"/>
                <a:gd name="connsiteY3" fmla="*/ 121444 h 2255044"/>
                <a:gd name="connsiteX4" fmla="*/ 171451 w 614565"/>
                <a:gd name="connsiteY4" fmla="*/ 150019 h 2255044"/>
                <a:gd name="connsiteX5" fmla="*/ 178595 w 614565"/>
                <a:gd name="connsiteY5" fmla="*/ 166688 h 2255044"/>
                <a:gd name="connsiteX6" fmla="*/ 192882 w 614565"/>
                <a:gd name="connsiteY6" fmla="*/ 185738 h 2255044"/>
                <a:gd name="connsiteX7" fmla="*/ 250032 w 614565"/>
                <a:gd name="connsiteY7" fmla="*/ 204788 h 2255044"/>
                <a:gd name="connsiteX8" fmla="*/ 297657 w 614565"/>
                <a:gd name="connsiteY8" fmla="*/ 245269 h 2255044"/>
                <a:gd name="connsiteX9" fmla="*/ 354807 w 614565"/>
                <a:gd name="connsiteY9" fmla="*/ 276225 h 2255044"/>
                <a:gd name="connsiteX10" fmla="*/ 388145 w 614565"/>
                <a:gd name="connsiteY10" fmla="*/ 290513 h 2255044"/>
                <a:gd name="connsiteX11" fmla="*/ 407195 w 614565"/>
                <a:gd name="connsiteY11" fmla="*/ 307181 h 2255044"/>
                <a:gd name="connsiteX12" fmla="*/ 433389 w 614565"/>
                <a:gd name="connsiteY12" fmla="*/ 328613 h 2255044"/>
                <a:gd name="connsiteX13" fmla="*/ 438151 w 614565"/>
                <a:gd name="connsiteY13" fmla="*/ 340519 h 2255044"/>
                <a:gd name="connsiteX14" fmla="*/ 433389 w 614565"/>
                <a:gd name="connsiteY14" fmla="*/ 383381 h 2255044"/>
                <a:gd name="connsiteX15" fmla="*/ 450057 w 614565"/>
                <a:gd name="connsiteY15" fmla="*/ 409575 h 2255044"/>
                <a:gd name="connsiteX16" fmla="*/ 466726 w 614565"/>
                <a:gd name="connsiteY16" fmla="*/ 452438 h 2255044"/>
                <a:gd name="connsiteX17" fmla="*/ 481014 w 614565"/>
                <a:gd name="connsiteY17" fmla="*/ 483394 h 2255044"/>
                <a:gd name="connsiteX18" fmla="*/ 471489 w 614565"/>
                <a:gd name="connsiteY18" fmla="*/ 507206 h 2255044"/>
                <a:gd name="connsiteX19" fmla="*/ 500064 w 614565"/>
                <a:gd name="connsiteY19" fmla="*/ 647699 h 2255044"/>
                <a:gd name="connsiteX20" fmla="*/ 542926 w 614565"/>
                <a:gd name="connsiteY20" fmla="*/ 723899 h 2255044"/>
                <a:gd name="connsiteX21" fmla="*/ 614363 w 614565"/>
                <a:gd name="connsiteY21" fmla="*/ 752474 h 2255044"/>
                <a:gd name="connsiteX22" fmla="*/ 0 w 614565"/>
                <a:gd name="connsiteY22" fmla="*/ 2090737 h 2255044"/>
                <a:gd name="connsiteX23" fmla="*/ 19051 w 614565"/>
                <a:gd name="connsiteY23" fmla="*/ 2255044 h 2255044"/>
                <a:gd name="connsiteX0" fmla="*/ 65857 w 623271"/>
                <a:gd name="connsiteY0" fmla="*/ 0 h 2255044"/>
                <a:gd name="connsiteX1" fmla="*/ 89670 w 623271"/>
                <a:gd name="connsiteY1" fmla="*/ 50006 h 2255044"/>
                <a:gd name="connsiteX2" fmla="*/ 82526 w 623271"/>
                <a:gd name="connsiteY2" fmla="*/ 88106 h 2255044"/>
                <a:gd name="connsiteX3" fmla="*/ 108720 w 623271"/>
                <a:gd name="connsiteY3" fmla="*/ 121444 h 2255044"/>
                <a:gd name="connsiteX4" fmla="*/ 180157 w 623271"/>
                <a:gd name="connsiteY4" fmla="*/ 150019 h 2255044"/>
                <a:gd name="connsiteX5" fmla="*/ 187301 w 623271"/>
                <a:gd name="connsiteY5" fmla="*/ 166688 h 2255044"/>
                <a:gd name="connsiteX6" fmla="*/ 201588 w 623271"/>
                <a:gd name="connsiteY6" fmla="*/ 185738 h 2255044"/>
                <a:gd name="connsiteX7" fmla="*/ 258738 w 623271"/>
                <a:gd name="connsiteY7" fmla="*/ 204788 h 2255044"/>
                <a:gd name="connsiteX8" fmla="*/ 306363 w 623271"/>
                <a:gd name="connsiteY8" fmla="*/ 245269 h 2255044"/>
                <a:gd name="connsiteX9" fmla="*/ 363513 w 623271"/>
                <a:gd name="connsiteY9" fmla="*/ 276225 h 2255044"/>
                <a:gd name="connsiteX10" fmla="*/ 396851 w 623271"/>
                <a:gd name="connsiteY10" fmla="*/ 290513 h 2255044"/>
                <a:gd name="connsiteX11" fmla="*/ 415901 w 623271"/>
                <a:gd name="connsiteY11" fmla="*/ 307181 h 2255044"/>
                <a:gd name="connsiteX12" fmla="*/ 442095 w 623271"/>
                <a:gd name="connsiteY12" fmla="*/ 328613 h 2255044"/>
                <a:gd name="connsiteX13" fmla="*/ 446857 w 623271"/>
                <a:gd name="connsiteY13" fmla="*/ 340519 h 2255044"/>
                <a:gd name="connsiteX14" fmla="*/ 442095 w 623271"/>
                <a:gd name="connsiteY14" fmla="*/ 383381 h 2255044"/>
                <a:gd name="connsiteX15" fmla="*/ 458763 w 623271"/>
                <a:gd name="connsiteY15" fmla="*/ 409575 h 2255044"/>
                <a:gd name="connsiteX16" fmla="*/ 475432 w 623271"/>
                <a:gd name="connsiteY16" fmla="*/ 452438 h 2255044"/>
                <a:gd name="connsiteX17" fmla="*/ 489720 w 623271"/>
                <a:gd name="connsiteY17" fmla="*/ 483394 h 2255044"/>
                <a:gd name="connsiteX18" fmla="*/ 480195 w 623271"/>
                <a:gd name="connsiteY18" fmla="*/ 507206 h 2255044"/>
                <a:gd name="connsiteX19" fmla="*/ 508770 w 623271"/>
                <a:gd name="connsiteY19" fmla="*/ 647699 h 2255044"/>
                <a:gd name="connsiteX20" fmla="*/ 551632 w 623271"/>
                <a:gd name="connsiteY20" fmla="*/ 723899 h 2255044"/>
                <a:gd name="connsiteX21" fmla="*/ 623069 w 623271"/>
                <a:gd name="connsiteY21" fmla="*/ 752474 h 2255044"/>
                <a:gd name="connsiteX22" fmla="*/ 65857 w 623271"/>
                <a:gd name="connsiteY22" fmla="*/ 1966912 h 2255044"/>
                <a:gd name="connsiteX23" fmla="*/ 8706 w 623271"/>
                <a:gd name="connsiteY23" fmla="*/ 2090737 h 2255044"/>
                <a:gd name="connsiteX24" fmla="*/ 27757 w 623271"/>
                <a:gd name="connsiteY24" fmla="*/ 2255044 h 2255044"/>
                <a:gd name="connsiteX0" fmla="*/ 62457 w 636392"/>
                <a:gd name="connsiteY0" fmla="*/ 0 h 2255044"/>
                <a:gd name="connsiteX1" fmla="*/ 86270 w 636392"/>
                <a:gd name="connsiteY1" fmla="*/ 50006 h 2255044"/>
                <a:gd name="connsiteX2" fmla="*/ 79126 w 636392"/>
                <a:gd name="connsiteY2" fmla="*/ 88106 h 2255044"/>
                <a:gd name="connsiteX3" fmla="*/ 105320 w 636392"/>
                <a:gd name="connsiteY3" fmla="*/ 121444 h 2255044"/>
                <a:gd name="connsiteX4" fmla="*/ 176757 w 636392"/>
                <a:gd name="connsiteY4" fmla="*/ 150019 h 2255044"/>
                <a:gd name="connsiteX5" fmla="*/ 183901 w 636392"/>
                <a:gd name="connsiteY5" fmla="*/ 166688 h 2255044"/>
                <a:gd name="connsiteX6" fmla="*/ 198188 w 636392"/>
                <a:gd name="connsiteY6" fmla="*/ 185738 h 2255044"/>
                <a:gd name="connsiteX7" fmla="*/ 255338 w 636392"/>
                <a:gd name="connsiteY7" fmla="*/ 204788 h 2255044"/>
                <a:gd name="connsiteX8" fmla="*/ 302963 w 636392"/>
                <a:gd name="connsiteY8" fmla="*/ 245269 h 2255044"/>
                <a:gd name="connsiteX9" fmla="*/ 360113 w 636392"/>
                <a:gd name="connsiteY9" fmla="*/ 276225 h 2255044"/>
                <a:gd name="connsiteX10" fmla="*/ 393451 w 636392"/>
                <a:gd name="connsiteY10" fmla="*/ 290513 h 2255044"/>
                <a:gd name="connsiteX11" fmla="*/ 412501 w 636392"/>
                <a:gd name="connsiteY11" fmla="*/ 307181 h 2255044"/>
                <a:gd name="connsiteX12" fmla="*/ 438695 w 636392"/>
                <a:gd name="connsiteY12" fmla="*/ 328613 h 2255044"/>
                <a:gd name="connsiteX13" fmla="*/ 443457 w 636392"/>
                <a:gd name="connsiteY13" fmla="*/ 340519 h 2255044"/>
                <a:gd name="connsiteX14" fmla="*/ 438695 w 636392"/>
                <a:gd name="connsiteY14" fmla="*/ 383381 h 2255044"/>
                <a:gd name="connsiteX15" fmla="*/ 455363 w 636392"/>
                <a:gd name="connsiteY15" fmla="*/ 409575 h 2255044"/>
                <a:gd name="connsiteX16" fmla="*/ 472032 w 636392"/>
                <a:gd name="connsiteY16" fmla="*/ 452438 h 2255044"/>
                <a:gd name="connsiteX17" fmla="*/ 486320 w 636392"/>
                <a:gd name="connsiteY17" fmla="*/ 483394 h 2255044"/>
                <a:gd name="connsiteX18" fmla="*/ 476795 w 636392"/>
                <a:gd name="connsiteY18" fmla="*/ 507206 h 2255044"/>
                <a:gd name="connsiteX19" fmla="*/ 505370 w 636392"/>
                <a:gd name="connsiteY19" fmla="*/ 647699 h 2255044"/>
                <a:gd name="connsiteX20" fmla="*/ 548232 w 636392"/>
                <a:gd name="connsiteY20" fmla="*/ 723899 h 2255044"/>
                <a:gd name="connsiteX21" fmla="*/ 619669 w 636392"/>
                <a:gd name="connsiteY21" fmla="*/ 752474 h 2255044"/>
                <a:gd name="connsiteX22" fmla="*/ 581570 w 636392"/>
                <a:gd name="connsiteY22" fmla="*/ 902493 h 2255044"/>
                <a:gd name="connsiteX23" fmla="*/ 62457 w 636392"/>
                <a:gd name="connsiteY23" fmla="*/ 1966912 h 2255044"/>
                <a:gd name="connsiteX24" fmla="*/ 5306 w 636392"/>
                <a:gd name="connsiteY24" fmla="*/ 2090737 h 2255044"/>
                <a:gd name="connsiteX25" fmla="*/ 24357 w 636392"/>
                <a:gd name="connsiteY25" fmla="*/ 2255044 h 2255044"/>
                <a:gd name="connsiteX0" fmla="*/ 57476 w 631411"/>
                <a:gd name="connsiteY0" fmla="*/ 0 h 2255044"/>
                <a:gd name="connsiteX1" fmla="*/ 81289 w 631411"/>
                <a:gd name="connsiteY1" fmla="*/ 50006 h 2255044"/>
                <a:gd name="connsiteX2" fmla="*/ 74145 w 631411"/>
                <a:gd name="connsiteY2" fmla="*/ 88106 h 2255044"/>
                <a:gd name="connsiteX3" fmla="*/ 100339 w 631411"/>
                <a:gd name="connsiteY3" fmla="*/ 121444 h 2255044"/>
                <a:gd name="connsiteX4" fmla="*/ 171776 w 631411"/>
                <a:gd name="connsiteY4" fmla="*/ 150019 h 2255044"/>
                <a:gd name="connsiteX5" fmla="*/ 178920 w 631411"/>
                <a:gd name="connsiteY5" fmla="*/ 166688 h 2255044"/>
                <a:gd name="connsiteX6" fmla="*/ 193207 w 631411"/>
                <a:gd name="connsiteY6" fmla="*/ 185738 h 2255044"/>
                <a:gd name="connsiteX7" fmla="*/ 250357 w 631411"/>
                <a:gd name="connsiteY7" fmla="*/ 204788 h 2255044"/>
                <a:gd name="connsiteX8" fmla="*/ 297982 w 631411"/>
                <a:gd name="connsiteY8" fmla="*/ 245269 h 2255044"/>
                <a:gd name="connsiteX9" fmla="*/ 355132 w 631411"/>
                <a:gd name="connsiteY9" fmla="*/ 276225 h 2255044"/>
                <a:gd name="connsiteX10" fmla="*/ 388470 w 631411"/>
                <a:gd name="connsiteY10" fmla="*/ 290513 h 2255044"/>
                <a:gd name="connsiteX11" fmla="*/ 407520 w 631411"/>
                <a:gd name="connsiteY11" fmla="*/ 307181 h 2255044"/>
                <a:gd name="connsiteX12" fmla="*/ 433714 w 631411"/>
                <a:gd name="connsiteY12" fmla="*/ 328613 h 2255044"/>
                <a:gd name="connsiteX13" fmla="*/ 438476 w 631411"/>
                <a:gd name="connsiteY13" fmla="*/ 340519 h 2255044"/>
                <a:gd name="connsiteX14" fmla="*/ 433714 w 631411"/>
                <a:gd name="connsiteY14" fmla="*/ 383381 h 2255044"/>
                <a:gd name="connsiteX15" fmla="*/ 450382 w 631411"/>
                <a:gd name="connsiteY15" fmla="*/ 409575 h 2255044"/>
                <a:gd name="connsiteX16" fmla="*/ 467051 w 631411"/>
                <a:gd name="connsiteY16" fmla="*/ 452438 h 2255044"/>
                <a:gd name="connsiteX17" fmla="*/ 481339 w 631411"/>
                <a:gd name="connsiteY17" fmla="*/ 483394 h 2255044"/>
                <a:gd name="connsiteX18" fmla="*/ 471814 w 631411"/>
                <a:gd name="connsiteY18" fmla="*/ 507206 h 2255044"/>
                <a:gd name="connsiteX19" fmla="*/ 500389 w 631411"/>
                <a:gd name="connsiteY19" fmla="*/ 647699 h 2255044"/>
                <a:gd name="connsiteX20" fmla="*/ 543251 w 631411"/>
                <a:gd name="connsiteY20" fmla="*/ 723899 h 2255044"/>
                <a:gd name="connsiteX21" fmla="*/ 614688 w 631411"/>
                <a:gd name="connsiteY21" fmla="*/ 752474 h 2255044"/>
                <a:gd name="connsiteX22" fmla="*/ 576589 w 631411"/>
                <a:gd name="connsiteY22" fmla="*/ 902493 h 2255044"/>
                <a:gd name="connsiteX23" fmla="*/ 451509 w 631411"/>
                <a:gd name="connsiteY23" fmla="*/ 1147752 h 2255044"/>
                <a:gd name="connsiteX24" fmla="*/ 57476 w 631411"/>
                <a:gd name="connsiteY24" fmla="*/ 1966912 h 2255044"/>
                <a:gd name="connsiteX25" fmla="*/ 325 w 631411"/>
                <a:gd name="connsiteY25" fmla="*/ 2090737 h 2255044"/>
                <a:gd name="connsiteX26" fmla="*/ 19376 w 631411"/>
                <a:gd name="connsiteY26" fmla="*/ 2255044 h 2255044"/>
                <a:gd name="connsiteX0" fmla="*/ 57151 w 631086"/>
                <a:gd name="connsiteY0" fmla="*/ 0 h 2255044"/>
                <a:gd name="connsiteX1" fmla="*/ 80964 w 631086"/>
                <a:gd name="connsiteY1" fmla="*/ 50006 h 2255044"/>
                <a:gd name="connsiteX2" fmla="*/ 73820 w 631086"/>
                <a:gd name="connsiteY2" fmla="*/ 88106 h 2255044"/>
                <a:gd name="connsiteX3" fmla="*/ 100014 w 631086"/>
                <a:gd name="connsiteY3" fmla="*/ 121444 h 2255044"/>
                <a:gd name="connsiteX4" fmla="*/ 171451 w 631086"/>
                <a:gd name="connsiteY4" fmla="*/ 150019 h 2255044"/>
                <a:gd name="connsiteX5" fmla="*/ 178595 w 631086"/>
                <a:gd name="connsiteY5" fmla="*/ 166688 h 2255044"/>
                <a:gd name="connsiteX6" fmla="*/ 192882 w 631086"/>
                <a:gd name="connsiteY6" fmla="*/ 185738 h 2255044"/>
                <a:gd name="connsiteX7" fmla="*/ 250032 w 631086"/>
                <a:gd name="connsiteY7" fmla="*/ 204788 h 2255044"/>
                <a:gd name="connsiteX8" fmla="*/ 297657 w 631086"/>
                <a:gd name="connsiteY8" fmla="*/ 245269 h 2255044"/>
                <a:gd name="connsiteX9" fmla="*/ 354807 w 631086"/>
                <a:gd name="connsiteY9" fmla="*/ 276225 h 2255044"/>
                <a:gd name="connsiteX10" fmla="*/ 388145 w 631086"/>
                <a:gd name="connsiteY10" fmla="*/ 290513 h 2255044"/>
                <a:gd name="connsiteX11" fmla="*/ 407195 w 631086"/>
                <a:gd name="connsiteY11" fmla="*/ 307181 h 2255044"/>
                <a:gd name="connsiteX12" fmla="*/ 433389 w 631086"/>
                <a:gd name="connsiteY12" fmla="*/ 328613 h 2255044"/>
                <a:gd name="connsiteX13" fmla="*/ 438151 w 631086"/>
                <a:gd name="connsiteY13" fmla="*/ 340519 h 2255044"/>
                <a:gd name="connsiteX14" fmla="*/ 433389 w 631086"/>
                <a:gd name="connsiteY14" fmla="*/ 383381 h 2255044"/>
                <a:gd name="connsiteX15" fmla="*/ 450057 w 631086"/>
                <a:gd name="connsiteY15" fmla="*/ 409575 h 2255044"/>
                <a:gd name="connsiteX16" fmla="*/ 466726 w 631086"/>
                <a:gd name="connsiteY16" fmla="*/ 452438 h 2255044"/>
                <a:gd name="connsiteX17" fmla="*/ 481014 w 631086"/>
                <a:gd name="connsiteY17" fmla="*/ 483394 h 2255044"/>
                <a:gd name="connsiteX18" fmla="*/ 471489 w 631086"/>
                <a:gd name="connsiteY18" fmla="*/ 507206 h 2255044"/>
                <a:gd name="connsiteX19" fmla="*/ 500064 w 631086"/>
                <a:gd name="connsiteY19" fmla="*/ 647699 h 2255044"/>
                <a:gd name="connsiteX20" fmla="*/ 542926 w 631086"/>
                <a:gd name="connsiteY20" fmla="*/ 723899 h 2255044"/>
                <a:gd name="connsiteX21" fmla="*/ 614363 w 631086"/>
                <a:gd name="connsiteY21" fmla="*/ 752474 h 2255044"/>
                <a:gd name="connsiteX22" fmla="*/ 576264 w 631086"/>
                <a:gd name="connsiteY22" fmla="*/ 902493 h 2255044"/>
                <a:gd name="connsiteX23" fmla="*/ 451184 w 631086"/>
                <a:gd name="connsiteY23" fmla="*/ 1147752 h 2255044"/>
                <a:gd name="connsiteX24" fmla="*/ 389272 w 631086"/>
                <a:gd name="connsiteY24" fmla="*/ 1195377 h 2255044"/>
                <a:gd name="connsiteX25" fmla="*/ 57151 w 631086"/>
                <a:gd name="connsiteY25" fmla="*/ 1966912 h 2255044"/>
                <a:gd name="connsiteX26" fmla="*/ 0 w 631086"/>
                <a:gd name="connsiteY26" fmla="*/ 2090737 h 2255044"/>
                <a:gd name="connsiteX27" fmla="*/ 19051 w 631086"/>
                <a:gd name="connsiteY27" fmla="*/ 2255044 h 2255044"/>
                <a:gd name="connsiteX0" fmla="*/ 57151 w 631086"/>
                <a:gd name="connsiteY0" fmla="*/ 0 h 2255044"/>
                <a:gd name="connsiteX1" fmla="*/ 80964 w 631086"/>
                <a:gd name="connsiteY1" fmla="*/ 50006 h 2255044"/>
                <a:gd name="connsiteX2" fmla="*/ 73820 w 631086"/>
                <a:gd name="connsiteY2" fmla="*/ 88106 h 2255044"/>
                <a:gd name="connsiteX3" fmla="*/ 100014 w 631086"/>
                <a:gd name="connsiteY3" fmla="*/ 121444 h 2255044"/>
                <a:gd name="connsiteX4" fmla="*/ 171451 w 631086"/>
                <a:gd name="connsiteY4" fmla="*/ 150019 h 2255044"/>
                <a:gd name="connsiteX5" fmla="*/ 178595 w 631086"/>
                <a:gd name="connsiteY5" fmla="*/ 166688 h 2255044"/>
                <a:gd name="connsiteX6" fmla="*/ 192882 w 631086"/>
                <a:gd name="connsiteY6" fmla="*/ 185738 h 2255044"/>
                <a:gd name="connsiteX7" fmla="*/ 250032 w 631086"/>
                <a:gd name="connsiteY7" fmla="*/ 204788 h 2255044"/>
                <a:gd name="connsiteX8" fmla="*/ 297657 w 631086"/>
                <a:gd name="connsiteY8" fmla="*/ 245269 h 2255044"/>
                <a:gd name="connsiteX9" fmla="*/ 354807 w 631086"/>
                <a:gd name="connsiteY9" fmla="*/ 276225 h 2255044"/>
                <a:gd name="connsiteX10" fmla="*/ 388145 w 631086"/>
                <a:gd name="connsiteY10" fmla="*/ 290513 h 2255044"/>
                <a:gd name="connsiteX11" fmla="*/ 407195 w 631086"/>
                <a:gd name="connsiteY11" fmla="*/ 307181 h 2255044"/>
                <a:gd name="connsiteX12" fmla="*/ 433389 w 631086"/>
                <a:gd name="connsiteY12" fmla="*/ 328613 h 2255044"/>
                <a:gd name="connsiteX13" fmla="*/ 438151 w 631086"/>
                <a:gd name="connsiteY13" fmla="*/ 340519 h 2255044"/>
                <a:gd name="connsiteX14" fmla="*/ 433389 w 631086"/>
                <a:gd name="connsiteY14" fmla="*/ 383381 h 2255044"/>
                <a:gd name="connsiteX15" fmla="*/ 450057 w 631086"/>
                <a:gd name="connsiteY15" fmla="*/ 409575 h 2255044"/>
                <a:gd name="connsiteX16" fmla="*/ 466726 w 631086"/>
                <a:gd name="connsiteY16" fmla="*/ 452438 h 2255044"/>
                <a:gd name="connsiteX17" fmla="*/ 481014 w 631086"/>
                <a:gd name="connsiteY17" fmla="*/ 483394 h 2255044"/>
                <a:gd name="connsiteX18" fmla="*/ 471489 w 631086"/>
                <a:gd name="connsiteY18" fmla="*/ 507206 h 2255044"/>
                <a:gd name="connsiteX19" fmla="*/ 500064 w 631086"/>
                <a:gd name="connsiteY19" fmla="*/ 647699 h 2255044"/>
                <a:gd name="connsiteX20" fmla="*/ 542926 w 631086"/>
                <a:gd name="connsiteY20" fmla="*/ 723899 h 2255044"/>
                <a:gd name="connsiteX21" fmla="*/ 614363 w 631086"/>
                <a:gd name="connsiteY21" fmla="*/ 752474 h 2255044"/>
                <a:gd name="connsiteX22" fmla="*/ 576264 w 631086"/>
                <a:gd name="connsiteY22" fmla="*/ 902493 h 2255044"/>
                <a:gd name="connsiteX23" fmla="*/ 451184 w 631086"/>
                <a:gd name="connsiteY23" fmla="*/ 1147752 h 2255044"/>
                <a:gd name="connsiteX24" fmla="*/ 389272 w 631086"/>
                <a:gd name="connsiteY24" fmla="*/ 1195377 h 2255044"/>
                <a:gd name="connsiteX25" fmla="*/ 336883 w 631086"/>
                <a:gd name="connsiteY25" fmla="*/ 1252527 h 2255044"/>
                <a:gd name="connsiteX26" fmla="*/ 57151 w 631086"/>
                <a:gd name="connsiteY26" fmla="*/ 1966912 h 2255044"/>
                <a:gd name="connsiteX27" fmla="*/ 0 w 631086"/>
                <a:gd name="connsiteY27" fmla="*/ 2090737 h 2255044"/>
                <a:gd name="connsiteX28" fmla="*/ 19051 w 631086"/>
                <a:gd name="connsiteY28" fmla="*/ 2255044 h 2255044"/>
                <a:gd name="connsiteX0" fmla="*/ 57151 w 631086"/>
                <a:gd name="connsiteY0" fmla="*/ 0 h 2255044"/>
                <a:gd name="connsiteX1" fmla="*/ 80964 w 631086"/>
                <a:gd name="connsiteY1" fmla="*/ 50006 h 2255044"/>
                <a:gd name="connsiteX2" fmla="*/ 73820 w 631086"/>
                <a:gd name="connsiteY2" fmla="*/ 88106 h 2255044"/>
                <a:gd name="connsiteX3" fmla="*/ 100014 w 631086"/>
                <a:gd name="connsiteY3" fmla="*/ 121444 h 2255044"/>
                <a:gd name="connsiteX4" fmla="*/ 171451 w 631086"/>
                <a:gd name="connsiteY4" fmla="*/ 150019 h 2255044"/>
                <a:gd name="connsiteX5" fmla="*/ 178595 w 631086"/>
                <a:gd name="connsiteY5" fmla="*/ 166688 h 2255044"/>
                <a:gd name="connsiteX6" fmla="*/ 192882 w 631086"/>
                <a:gd name="connsiteY6" fmla="*/ 185738 h 2255044"/>
                <a:gd name="connsiteX7" fmla="*/ 250032 w 631086"/>
                <a:gd name="connsiteY7" fmla="*/ 204788 h 2255044"/>
                <a:gd name="connsiteX8" fmla="*/ 297657 w 631086"/>
                <a:gd name="connsiteY8" fmla="*/ 245269 h 2255044"/>
                <a:gd name="connsiteX9" fmla="*/ 354807 w 631086"/>
                <a:gd name="connsiteY9" fmla="*/ 276225 h 2255044"/>
                <a:gd name="connsiteX10" fmla="*/ 388145 w 631086"/>
                <a:gd name="connsiteY10" fmla="*/ 290513 h 2255044"/>
                <a:gd name="connsiteX11" fmla="*/ 407195 w 631086"/>
                <a:gd name="connsiteY11" fmla="*/ 307181 h 2255044"/>
                <a:gd name="connsiteX12" fmla="*/ 433389 w 631086"/>
                <a:gd name="connsiteY12" fmla="*/ 328613 h 2255044"/>
                <a:gd name="connsiteX13" fmla="*/ 438151 w 631086"/>
                <a:gd name="connsiteY13" fmla="*/ 340519 h 2255044"/>
                <a:gd name="connsiteX14" fmla="*/ 433389 w 631086"/>
                <a:gd name="connsiteY14" fmla="*/ 383381 h 2255044"/>
                <a:gd name="connsiteX15" fmla="*/ 450057 w 631086"/>
                <a:gd name="connsiteY15" fmla="*/ 409575 h 2255044"/>
                <a:gd name="connsiteX16" fmla="*/ 466726 w 631086"/>
                <a:gd name="connsiteY16" fmla="*/ 452438 h 2255044"/>
                <a:gd name="connsiteX17" fmla="*/ 481014 w 631086"/>
                <a:gd name="connsiteY17" fmla="*/ 483394 h 2255044"/>
                <a:gd name="connsiteX18" fmla="*/ 471489 w 631086"/>
                <a:gd name="connsiteY18" fmla="*/ 507206 h 2255044"/>
                <a:gd name="connsiteX19" fmla="*/ 500064 w 631086"/>
                <a:gd name="connsiteY19" fmla="*/ 647699 h 2255044"/>
                <a:gd name="connsiteX20" fmla="*/ 542926 w 631086"/>
                <a:gd name="connsiteY20" fmla="*/ 723899 h 2255044"/>
                <a:gd name="connsiteX21" fmla="*/ 614363 w 631086"/>
                <a:gd name="connsiteY21" fmla="*/ 752474 h 2255044"/>
                <a:gd name="connsiteX22" fmla="*/ 576264 w 631086"/>
                <a:gd name="connsiteY22" fmla="*/ 902493 h 2255044"/>
                <a:gd name="connsiteX23" fmla="*/ 451184 w 631086"/>
                <a:gd name="connsiteY23" fmla="*/ 1147752 h 2255044"/>
                <a:gd name="connsiteX24" fmla="*/ 389272 w 631086"/>
                <a:gd name="connsiteY24" fmla="*/ 1195377 h 2255044"/>
                <a:gd name="connsiteX25" fmla="*/ 336883 w 631086"/>
                <a:gd name="connsiteY25" fmla="*/ 1252527 h 2255044"/>
                <a:gd name="connsiteX26" fmla="*/ 365458 w 631086"/>
                <a:gd name="connsiteY26" fmla="*/ 1347777 h 2255044"/>
                <a:gd name="connsiteX27" fmla="*/ 57151 w 631086"/>
                <a:gd name="connsiteY27" fmla="*/ 1966912 h 2255044"/>
                <a:gd name="connsiteX28" fmla="*/ 0 w 631086"/>
                <a:gd name="connsiteY28" fmla="*/ 2090737 h 2255044"/>
                <a:gd name="connsiteX29" fmla="*/ 19051 w 631086"/>
                <a:gd name="connsiteY29" fmla="*/ 2255044 h 2255044"/>
                <a:gd name="connsiteX0" fmla="*/ 57151 w 631086"/>
                <a:gd name="connsiteY0" fmla="*/ 0 h 2255044"/>
                <a:gd name="connsiteX1" fmla="*/ 80964 w 631086"/>
                <a:gd name="connsiteY1" fmla="*/ 50006 h 2255044"/>
                <a:gd name="connsiteX2" fmla="*/ 73820 w 631086"/>
                <a:gd name="connsiteY2" fmla="*/ 88106 h 2255044"/>
                <a:gd name="connsiteX3" fmla="*/ 100014 w 631086"/>
                <a:gd name="connsiteY3" fmla="*/ 121444 h 2255044"/>
                <a:gd name="connsiteX4" fmla="*/ 171451 w 631086"/>
                <a:gd name="connsiteY4" fmla="*/ 150019 h 2255044"/>
                <a:gd name="connsiteX5" fmla="*/ 178595 w 631086"/>
                <a:gd name="connsiteY5" fmla="*/ 166688 h 2255044"/>
                <a:gd name="connsiteX6" fmla="*/ 192882 w 631086"/>
                <a:gd name="connsiteY6" fmla="*/ 185738 h 2255044"/>
                <a:gd name="connsiteX7" fmla="*/ 250032 w 631086"/>
                <a:gd name="connsiteY7" fmla="*/ 204788 h 2255044"/>
                <a:gd name="connsiteX8" fmla="*/ 297657 w 631086"/>
                <a:gd name="connsiteY8" fmla="*/ 245269 h 2255044"/>
                <a:gd name="connsiteX9" fmla="*/ 354807 w 631086"/>
                <a:gd name="connsiteY9" fmla="*/ 276225 h 2255044"/>
                <a:gd name="connsiteX10" fmla="*/ 388145 w 631086"/>
                <a:gd name="connsiteY10" fmla="*/ 290513 h 2255044"/>
                <a:gd name="connsiteX11" fmla="*/ 407195 w 631086"/>
                <a:gd name="connsiteY11" fmla="*/ 307181 h 2255044"/>
                <a:gd name="connsiteX12" fmla="*/ 433389 w 631086"/>
                <a:gd name="connsiteY12" fmla="*/ 328613 h 2255044"/>
                <a:gd name="connsiteX13" fmla="*/ 438151 w 631086"/>
                <a:gd name="connsiteY13" fmla="*/ 340519 h 2255044"/>
                <a:gd name="connsiteX14" fmla="*/ 433389 w 631086"/>
                <a:gd name="connsiteY14" fmla="*/ 383381 h 2255044"/>
                <a:gd name="connsiteX15" fmla="*/ 450057 w 631086"/>
                <a:gd name="connsiteY15" fmla="*/ 409575 h 2255044"/>
                <a:gd name="connsiteX16" fmla="*/ 466726 w 631086"/>
                <a:gd name="connsiteY16" fmla="*/ 452438 h 2255044"/>
                <a:gd name="connsiteX17" fmla="*/ 481014 w 631086"/>
                <a:gd name="connsiteY17" fmla="*/ 483394 h 2255044"/>
                <a:gd name="connsiteX18" fmla="*/ 471489 w 631086"/>
                <a:gd name="connsiteY18" fmla="*/ 507206 h 2255044"/>
                <a:gd name="connsiteX19" fmla="*/ 500064 w 631086"/>
                <a:gd name="connsiteY19" fmla="*/ 647699 h 2255044"/>
                <a:gd name="connsiteX20" fmla="*/ 542926 w 631086"/>
                <a:gd name="connsiteY20" fmla="*/ 723899 h 2255044"/>
                <a:gd name="connsiteX21" fmla="*/ 614363 w 631086"/>
                <a:gd name="connsiteY21" fmla="*/ 752474 h 2255044"/>
                <a:gd name="connsiteX22" fmla="*/ 576264 w 631086"/>
                <a:gd name="connsiteY22" fmla="*/ 902493 h 2255044"/>
                <a:gd name="connsiteX23" fmla="*/ 451184 w 631086"/>
                <a:gd name="connsiteY23" fmla="*/ 1147752 h 2255044"/>
                <a:gd name="connsiteX24" fmla="*/ 389272 w 631086"/>
                <a:gd name="connsiteY24" fmla="*/ 1195377 h 2255044"/>
                <a:gd name="connsiteX25" fmla="*/ 336883 w 631086"/>
                <a:gd name="connsiteY25" fmla="*/ 1252527 h 2255044"/>
                <a:gd name="connsiteX26" fmla="*/ 365458 w 631086"/>
                <a:gd name="connsiteY26" fmla="*/ 1347777 h 2255044"/>
                <a:gd name="connsiteX27" fmla="*/ 384508 w 631086"/>
                <a:gd name="connsiteY27" fmla="*/ 1481127 h 2255044"/>
                <a:gd name="connsiteX28" fmla="*/ 57151 w 631086"/>
                <a:gd name="connsiteY28" fmla="*/ 1966912 h 2255044"/>
                <a:gd name="connsiteX29" fmla="*/ 0 w 631086"/>
                <a:gd name="connsiteY29" fmla="*/ 2090737 h 2255044"/>
                <a:gd name="connsiteX30" fmla="*/ 19051 w 631086"/>
                <a:gd name="connsiteY30" fmla="*/ 2255044 h 2255044"/>
                <a:gd name="connsiteX0" fmla="*/ 57151 w 631086"/>
                <a:gd name="connsiteY0" fmla="*/ 0 h 2255044"/>
                <a:gd name="connsiteX1" fmla="*/ 80964 w 631086"/>
                <a:gd name="connsiteY1" fmla="*/ 50006 h 2255044"/>
                <a:gd name="connsiteX2" fmla="*/ 73820 w 631086"/>
                <a:gd name="connsiteY2" fmla="*/ 88106 h 2255044"/>
                <a:gd name="connsiteX3" fmla="*/ 100014 w 631086"/>
                <a:gd name="connsiteY3" fmla="*/ 121444 h 2255044"/>
                <a:gd name="connsiteX4" fmla="*/ 171451 w 631086"/>
                <a:gd name="connsiteY4" fmla="*/ 150019 h 2255044"/>
                <a:gd name="connsiteX5" fmla="*/ 178595 w 631086"/>
                <a:gd name="connsiteY5" fmla="*/ 166688 h 2255044"/>
                <a:gd name="connsiteX6" fmla="*/ 192882 w 631086"/>
                <a:gd name="connsiteY6" fmla="*/ 185738 h 2255044"/>
                <a:gd name="connsiteX7" fmla="*/ 250032 w 631086"/>
                <a:gd name="connsiteY7" fmla="*/ 204788 h 2255044"/>
                <a:gd name="connsiteX8" fmla="*/ 297657 w 631086"/>
                <a:gd name="connsiteY8" fmla="*/ 245269 h 2255044"/>
                <a:gd name="connsiteX9" fmla="*/ 354807 w 631086"/>
                <a:gd name="connsiteY9" fmla="*/ 276225 h 2255044"/>
                <a:gd name="connsiteX10" fmla="*/ 388145 w 631086"/>
                <a:gd name="connsiteY10" fmla="*/ 290513 h 2255044"/>
                <a:gd name="connsiteX11" fmla="*/ 407195 w 631086"/>
                <a:gd name="connsiteY11" fmla="*/ 307181 h 2255044"/>
                <a:gd name="connsiteX12" fmla="*/ 433389 w 631086"/>
                <a:gd name="connsiteY12" fmla="*/ 328613 h 2255044"/>
                <a:gd name="connsiteX13" fmla="*/ 438151 w 631086"/>
                <a:gd name="connsiteY13" fmla="*/ 340519 h 2255044"/>
                <a:gd name="connsiteX14" fmla="*/ 433389 w 631086"/>
                <a:gd name="connsiteY14" fmla="*/ 383381 h 2255044"/>
                <a:gd name="connsiteX15" fmla="*/ 450057 w 631086"/>
                <a:gd name="connsiteY15" fmla="*/ 409575 h 2255044"/>
                <a:gd name="connsiteX16" fmla="*/ 466726 w 631086"/>
                <a:gd name="connsiteY16" fmla="*/ 452438 h 2255044"/>
                <a:gd name="connsiteX17" fmla="*/ 481014 w 631086"/>
                <a:gd name="connsiteY17" fmla="*/ 483394 h 2255044"/>
                <a:gd name="connsiteX18" fmla="*/ 471489 w 631086"/>
                <a:gd name="connsiteY18" fmla="*/ 507206 h 2255044"/>
                <a:gd name="connsiteX19" fmla="*/ 500064 w 631086"/>
                <a:gd name="connsiteY19" fmla="*/ 647699 h 2255044"/>
                <a:gd name="connsiteX20" fmla="*/ 542926 w 631086"/>
                <a:gd name="connsiteY20" fmla="*/ 723899 h 2255044"/>
                <a:gd name="connsiteX21" fmla="*/ 614363 w 631086"/>
                <a:gd name="connsiteY21" fmla="*/ 752474 h 2255044"/>
                <a:gd name="connsiteX22" fmla="*/ 576264 w 631086"/>
                <a:gd name="connsiteY22" fmla="*/ 902493 h 2255044"/>
                <a:gd name="connsiteX23" fmla="*/ 451184 w 631086"/>
                <a:gd name="connsiteY23" fmla="*/ 1147752 h 2255044"/>
                <a:gd name="connsiteX24" fmla="*/ 389272 w 631086"/>
                <a:gd name="connsiteY24" fmla="*/ 1195377 h 2255044"/>
                <a:gd name="connsiteX25" fmla="*/ 336883 w 631086"/>
                <a:gd name="connsiteY25" fmla="*/ 1252527 h 2255044"/>
                <a:gd name="connsiteX26" fmla="*/ 365458 w 631086"/>
                <a:gd name="connsiteY26" fmla="*/ 1347777 h 2255044"/>
                <a:gd name="connsiteX27" fmla="*/ 384508 w 631086"/>
                <a:gd name="connsiteY27" fmla="*/ 1481127 h 2255044"/>
                <a:gd name="connsiteX28" fmla="*/ 255921 w 631086"/>
                <a:gd name="connsiteY28" fmla="*/ 1547802 h 2255044"/>
                <a:gd name="connsiteX29" fmla="*/ 57151 w 631086"/>
                <a:gd name="connsiteY29" fmla="*/ 1966912 h 2255044"/>
                <a:gd name="connsiteX30" fmla="*/ 0 w 631086"/>
                <a:gd name="connsiteY30" fmla="*/ 2090737 h 2255044"/>
                <a:gd name="connsiteX31" fmla="*/ 19051 w 631086"/>
                <a:gd name="connsiteY31" fmla="*/ 2255044 h 2255044"/>
                <a:gd name="connsiteX0" fmla="*/ 57151 w 631086"/>
                <a:gd name="connsiteY0" fmla="*/ 0 h 2255044"/>
                <a:gd name="connsiteX1" fmla="*/ 80964 w 631086"/>
                <a:gd name="connsiteY1" fmla="*/ 50006 h 2255044"/>
                <a:gd name="connsiteX2" fmla="*/ 73820 w 631086"/>
                <a:gd name="connsiteY2" fmla="*/ 88106 h 2255044"/>
                <a:gd name="connsiteX3" fmla="*/ 100014 w 631086"/>
                <a:gd name="connsiteY3" fmla="*/ 121444 h 2255044"/>
                <a:gd name="connsiteX4" fmla="*/ 171451 w 631086"/>
                <a:gd name="connsiteY4" fmla="*/ 150019 h 2255044"/>
                <a:gd name="connsiteX5" fmla="*/ 178595 w 631086"/>
                <a:gd name="connsiteY5" fmla="*/ 166688 h 2255044"/>
                <a:gd name="connsiteX6" fmla="*/ 192882 w 631086"/>
                <a:gd name="connsiteY6" fmla="*/ 185738 h 2255044"/>
                <a:gd name="connsiteX7" fmla="*/ 250032 w 631086"/>
                <a:gd name="connsiteY7" fmla="*/ 204788 h 2255044"/>
                <a:gd name="connsiteX8" fmla="*/ 297657 w 631086"/>
                <a:gd name="connsiteY8" fmla="*/ 245269 h 2255044"/>
                <a:gd name="connsiteX9" fmla="*/ 354807 w 631086"/>
                <a:gd name="connsiteY9" fmla="*/ 276225 h 2255044"/>
                <a:gd name="connsiteX10" fmla="*/ 388145 w 631086"/>
                <a:gd name="connsiteY10" fmla="*/ 290513 h 2255044"/>
                <a:gd name="connsiteX11" fmla="*/ 407195 w 631086"/>
                <a:gd name="connsiteY11" fmla="*/ 307181 h 2255044"/>
                <a:gd name="connsiteX12" fmla="*/ 433389 w 631086"/>
                <a:gd name="connsiteY12" fmla="*/ 328613 h 2255044"/>
                <a:gd name="connsiteX13" fmla="*/ 438151 w 631086"/>
                <a:gd name="connsiteY13" fmla="*/ 340519 h 2255044"/>
                <a:gd name="connsiteX14" fmla="*/ 433389 w 631086"/>
                <a:gd name="connsiteY14" fmla="*/ 383381 h 2255044"/>
                <a:gd name="connsiteX15" fmla="*/ 450057 w 631086"/>
                <a:gd name="connsiteY15" fmla="*/ 409575 h 2255044"/>
                <a:gd name="connsiteX16" fmla="*/ 466726 w 631086"/>
                <a:gd name="connsiteY16" fmla="*/ 452438 h 2255044"/>
                <a:gd name="connsiteX17" fmla="*/ 481014 w 631086"/>
                <a:gd name="connsiteY17" fmla="*/ 483394 h 2255044"/>
                <a:gd name="connsiteX18" fmla="*/ 471489 w 631086"/>
                <a:gd name="connsiteY18" fmla="*/ 507206 h 2255044"/>
                <a:gd name="connsiteX19" fmla="*/ 500064 w 631086"/>
                <a:gd name="connsiteY19" fmla="*/ 647699 h 2255044"/>
                <a:gd name="connsiteX20" fmla="*/ 542926 w 631086"/>
                <a:gd name="connsiteY20" fmla="*/ 723899 h 2255044"/>
                <a:gd name="connsiteX21" fmla="*/ 614363 w 631086"/>
                <a:gd name="connsiteY21" fmla="*/ 752474 h 2255044"/>
                <a:gd name="connsiteX22" fmla="*/ 576264 w 631086"/>
                <a:gd name="connsiteY22" fmla="*/ 902493 h 2255044"/>
                <a:gd name="connsiteX23" fmla="*/ 451184 w 631086"/>
                <a:gd name="connsiteY23" fmla="*/ 1147752 h 2255044"/>
                <a:gd name="connsiteX24" fmla="*/ 389272 w 631086"/>
                <a:gd name="connsiteY24" fmla="*/ 1195377 h 2255044"/>
                <a:gd name="connsiteX25" fmla="*/ 336883 w 631086"/>
                <a:gd name="connsiteY25" fmla="*/ 1252527 h 2255044"/>
                <a:gd name="connsiteX26" fmla="*/ 365458 w 631086"/>
                <a:gd name="connsiteY26" fmla="*/ 1347777 h 2255044"/>
                <a:gd name="connsiteX27" fmla="*/ 384508 w 631086"/>
                <a:gd name="connsiteY27" fmla="*/ 1481127 h 2255044"/>
                <a:gd name="connsiteX28" fmla="*/ 255921 w 631086"/>
                <a:gd name="connsiteY28" fmla="*/ 1547802 h 2255044"/>
                <a:gd name="connsiteX29" fmla="*/ 179721 w 631086"/>
                <a:gd name="connsiteY29" fmla="*/ 1571615 h 2255044"/>
                <a:gd name="connsiteX30" fmla="*/ 57151 w 631086"/>
                <a:gd name="connsiteY30" fmla="*/ 1966912 h 2255044"/>
                <a:gd name="connsiteX31" fmla="*/ 0 w 631086"/>
                <a:gd name="connsiteY31" fmla="*/ 2090737 h 2255044"/>
                <a:gd name="connsiteX32" fmla="*/ 19051 w 631086"/>
                <a:gd name="connsiteY32" fmla="*/ 2255044 h 2255044"/>
                <a:gd name="connsiteX0" fmla="*/ 57151 w 631086"/>
                <a:gd name="connsiteY0" fmla="*/ 0 h 2255044"/>
                <a:gd name="connsiteX1" fmla="*/ 80964 w 631086"/>
                <a:gd name="connsiteY1" fmla="*/ 50006 h 2255044"/>
                <a:gd name="connsiteX2" fmla="*/ 73820 w 631086"/>
                <a:gd name="connsiteY2" fmla="*/ 88106 h 2255044"/>
                <a:gd name="connsiteX3" fmla="*/ 100014 w 631086"/>
                <a:gd name="connsiteY3" fmla="*/ 121444 h 2255044"/>
                <a:gd name="connsiteX4" fmla="*/ 171451 w 631086"/>
                <a:gd name="connsiteY4" fmla="*/ 150019 h 2255044"/>
                <a:gd name="connsiteX5" fmla="*/ 178595 w 631086"/>
                <a:gd name="connsiteY5" fmla="*/ 166688 h 2255044"/>
                <a:gd name="connsiteX6" fmla="*/ 192882 w 631086"/>
                <a:gd name="connsiteY6" fmla="*/ 185738 h 2255044"/>
                <a:gd name="connsiteX7" fmla="*/ 250032 w 631086"/>
                <a:gd name="connsiteY7" fmla="*/ 204788 h 2255044"/>
                <a:gd name="connsiteX8" fmla="*/ 297657 w 631086"/>
                <a:gd name="connsiteY8" fmla="*/ 245269 h 2255044"/>
                <a:gd name="connsiteX9" fmla="*/ 354807 w 631086"/>
                <a:gd name="connsiteY9" fmla="*/ 276225 h 2255044"/>
                <a:gd name="connsiteX10" fmla="*/ 388145 w 631086"/>
                <a:gd name="connsiteY10" fmla="*/ 290513 h 2255044"/>
                <a:gd name="connsiteX11" fmla="*/ 407195 w 631086"/>
                <a:gd name="connsiteY11" fmla="*/ 307181 h 2255044"/>
                <a:gd name="connsiteX12" fmla="*/ 433389 w 631086"/>
                <a:gd name="connsiteY12" fmla="*/ 328613 h 2255044"/>
                <a:gd name="connsiteX13" fmla="*/ 438151 w 631086"/>
                <a:gd name="connsiteY13" fmla="*/ 340519 h 2255044"/>
                <a:gd name="connsiteX14" fmla="*/ 433389 w 631086"/>
                <a:gd name="connsiteY14" fmla="*/ 383381 h 2255044"/>
                <a:gd name="connsiteX15" fmla="*/ 450057 w 631086"/>
                <a:gd name="connsiteY15" fmla="*/ 409575 h 2255044"/>
                <a:gd name="connsiteX16" fmla="*/ 466726 w 631086"/>
                <a:gd name="connsiteY16" fmla="*/ 452438 h 2255044"/>
                <a:gd name="connsiteX17" fmla="*/ 481014 w 631086"/>
                <a:gd name="connsiteY17" fmla="*/ 483394 h 2255044"/>
                <a:gd name="connsiteX18" fmla="*/ 471489 w 631086"/>
                <a:gd name="connsiteY18" fmla="*/ 507206 h 2255044"/>
                <a:gd name="connsiteX19" fmla="*/ 500064 w 631086"/>
                <a:gd name="connsiteY19" fmla="*/ 647699 h 2255044"/>
                <a:gd name="connsiteX20" fmla="*/ 542926 w 631086"/>
                <a:gd name="connsiteY20" fmla="*/ 723899 h 2255044"/>
                <a:gd name="connsiteX21" fmla="*/ 614363 w 631086"/>
                <a:gd name="connsiteY21" fmla="*/ 752474 h 2255044"/>
                <a:gd name="connsiteX22" fmla="*/ 576264 w 631086"/>
                <a:gd name="connsiteY22" fmla="*/ 902493 h 2255044"/>
                <a:gd name="connsiteX23" fmla="*/ 451184 w 631086"/>
                <a:gd name="connsiteY23" fmla="*/ 1147752 h 2255044"/>
                <a:gd name="connsiteX24" fmla="*/ 389272 w 631086"/>
                <a:gd name="connsiteY24" fmla="*/ 1195377 h 2255044"/>
                <a:gd name="connsiteX25" fmla="*/ 336883 w 631086"/>
                <a:gd name="connsiteY25" fmla="*/ 1252527 h 2255044"/>
                <a:gd name="connsiteX26" fmla="*/ 365458 w 631086"/>
                <a:gd name="connsiteY26" fmla="*/ 1347777 h 2255044"/>
                <a:gd name="connsiteX27" fmla="*/ 384508 w 631086"/>
                <a:gd name="connsiteY27" fmla="*/ 1481127 h 2255044"/>
                <a:gd name="connsiteX28" fmla="*/ 255921 w 631086"/>
                <a:gd name="connsiteY28" fmla="*/ 1547802 h 2255044"/>
                <a:gd name="connsiteX29" fmla="*/ 179721 w 631086"/>
                <a:gd name="connsiteY29" fmla="*/ 1571615 h 2255044"/>
                <a:gd name="connsiteX30" fmla="*/ 93996 w 631086"/>
                <a:gd name="connsiteY30" fmla="*/ 1638290 h 2255044"/>
                <a:gd name="connsiteX31" fmla="*/ 57151 w 631086"/>
                <a:gd name="connsiteY31" fmla="*/ 1966912 h 2255044"/>
                <a:gd name="connsiteX32" fmla="*/ 0 w 631086"/>
                <a:gd name="connsiteY32" fmla="*/ 2090737 h 2255044"/>
                <a:gd name="connsiteX33" fmla="*/ 19051 w 631086"/>
                <a:gd name="connsiteY33" fmla="*/ 2255044 h 2255044"/>
                <a:gd name="connsiteX0" fmla="*/ 57151 w 631086"/>
                <a:gd name="connsiteY0" fmla="*/ 0 h 2255044"/>
                <a:gd name="connsiteX1" fmla="*/ 80964 w 631086"/>
                <a:gd name="connsiteY1" fmla="*/ 50006 h 2255044"/>
                <a:gd name="connsiteX2" fmla="*/ 73820 w 631086"/>
                <a:gd name="connsiteY2" fmla="*/ 88106 h 2255044"/>
                <a:gd name="connsiteX3" fmla="*/ 100014 w 631086"/>
                <a:gd name="connsiteY3" fmla="*/ 121444 h 2255044"/>
                <a:gd name="connsiteX4" fmla="*/ 171451 w 631086"/>
                <a:gd name="connsiteY4" fmla="*/ 150019 h 2255044"/>
                <a:gd name="connsiteX5" fmla="*/ 178595 w 631086"/>
                <a:gd name="connsiteY5" fmla="*/ 166688 h 2255044"/>
                <a:gd name="connsiteX6" fmla="*/ 192882 w 631086"/>
                <a:gd name="connsiteY6" fmla="*/ 185738 h 2255044"/>
                <a:gd name="connsiteX7" fmla="*/ 250032 w 631086"/>
                <a:gd name="connsiteY7" fmla="*/ 204788 h 2255044"/>
                <a:gd name="connsiteX8" fmla="*/ 297657 w 631086"/>
                <a:gd name="connsiteY8" fmla="*/ 245269 h 2255044"/>
                <a:gd name="connsiteX9" fmla="*/ 354807 w 631086"/>
                <a:gd name="connsiteY9" fmla="*/ 276225 h 2255044"/>
                <a:gd name="connsiteX10" fmla="*/ 388145 w 631086"/>
                <a:gd name="connsiteY10" fmla="*/ 290513 h 2255044"/>
                <a:gd name="connsiteX11" fmla="*/ 407195 w 631086"/>
                <a:gd name="connsiteY11" fmla="*/ 307181 h 2255044"/>
                <a:gd name="connsiteX12" fmla="*/ 433389 w 631086"/>
                <a:gd name="connsiteY12" fmla="*/ 328613 h 2255044"/>
                <a:gd name="connsiteX13" fmla="*/ 438151 w 631086"/>
                <a:gd name="connsiteY13" fmla="*/ 340519 h 2255044"/>
                <a:gd name="connsiteX14" fmla="*/ 433389 w 631086"/>
                <a:gd name="connsiteY14" fmla="*/ 383381 h 2255044"/>
                <a:gd name="connsiteX15" fmla="*/ 450057 w 631086"/>
                <a:gd name="connsiteY15" fmla="*/ 409575 h 2255044"/>
                <a:gd name="connsiteX16" fmla="*/ 466726 w 631086"/>
                <a:gd name="connsiteY16" fmla="*/ 452438 h 2255044"/>
                <a:gd name="connsiteX17" fmla="*/ 481014 w 631086"/>
                <a:gd name="connsiteY17" fmla="*/ 483394 h 2255044"/>
                <a:gd name="connsiteX18" fmla="*/ 471489 w 631086"/>
                <a:gd name="connsiteY18" fmla="*/ 507206 h 2255044"/>
                <a:gd name="connsiteX19" fmla="*/ 500064 w 631086"/>
                <a:gd name="connsiteY19" fmla="*/ 647699 h 2255044"/>
                <a:gd name="connsiteX20" fmla="*/ 542926 w 631086"/>
                <a:gd name="connsiteY20" fmla="*/ 723899 h 2255044"/>
                <a:gd name="connsiteX21" fmla="*/ 614363 w 631086"/>
                <a:gd name="connsiteY21" fmla="*/ 752474 h 2255044"/>
                <a:gd name="connsiteX22" fmla="*/ 576264 w 631086"/>
                <a:gd name="connsiteY22" fmla="*/ 902493 h 2255044"/>
                <a:gd name="connsiteX23" fmla="*/ 451184 w 631086"/>
                <a:gd name="connsiteY23" fmla="*/ 1147752 h 2255044"/>
                <a:gd name="connsiteX24" fmla="*/ 389272 w 631086"/>
                <a:gd name="connsiteY24" fmla="*/ 1195377 h 2255044"/>
                <a:gd name="connsiteX25" fmla="*/ 336883 w 631086"/>
                <a:gd name="connsiteY25" fmla="*/ 1252527 h 2255044"/>
                <a:gd name="connsiteX26" fmla="*/ 365458 w 631086"/>
                <a:gd name="connsiteY26" fmla="*/ 1347777 h 2255044"/>
                <a:gd name="connsiteX27" fmla="*/ 384508 w 631086"/>
                <a:gd name="connsiteY27" fmla="*/ 1481127 h 2255044"/>
                <a:gd name="connsiteX28" fmla="*/ 255921 w 631086"/>
                <a:gd name="connsiteY28" fmla="*/ 1547802 h 2255044"/>
                <a:gd name="connsiteX29" fmla="*/ 179721 w 631086"/>
                <a:gd name="connsiteY29" fmla="*/ 1571615 h 2255044"/>
                <a:gd name="connsiteX30" fmla="*/ 93996 w 631086"/>
                <a:gd name="connsiteY30" fmla="*/ 1638290 h 2255044"/>
                <a:gd name="connsiteX31" fmla="*/ 70183 w 631086"/>
                <a:gd name="connsiteY31" fmla="*/ 1771640 h 2255044"/>
                <a:gd name="connsiteX32" fmla="*/ 57151 w 631086"/>
                <a:gd name="connsiteY32" fmla="*/ 1966912 h 2255044"/>
                <a:gd name="connsiteX33" fmla="*/ 0 w 631086"/>
                <a:gd name="connsiteY33" fmla="*/ 2090737 h 2255044"/>
                <a:gd name="connsiteX34" fmla="*/ 19051 w 631086"/>
                <a:gd name="connsiteY34" fmla="*/ 2255044 h 2255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31086" h="2255044">
                  <a:moveTo>
                    <a:pt x="57151" y="0"/>
                  </a:moveTo>
                  <a:lnTo>
                    <a:pt x="80964" y="50006"/>
                  </a:lnTo>
                  <a:lnTo>
                    <a:pt x="73820" y="88106"/>
                  </a:lnTo>
                  <a:lnTo>
                    <a:pt x="100014" y="121444"/>
                  </a:lnTo>
                  <a:lnTo>
                    <a:pt x="171451" y="150019"/>
                  </a:lnTo>
                  <a:lnTo>
                    <a:pt x="178595" y="166688"/>
                  </a:lnTo>
                  <a:lnTo>
                    <a:pt x="192882" y="185738"/>
                  </a:lnTo>
                  <a:lnTo>
                    <a:pt x="250032" y="204788"/>
                  </a:lnTo>
                  <a:lnTo>
                    <a:pt x="297657" y="245269"/>
                  </a:lnTo>
                  <a:lnTo>
                    <a:pt x="354807" y="276225"/>
                  </a:lnTo>
                  <a:lnTo>
                    <a:pt x="388145" y="290513"/>
                  </a:lnTo>
                  <a:lnTo>
                    <a:pt x="407195" y="307181"/>
                  </a:lnTo>
                  <a:lnTo>
                    <a:pt x="433389" y="328613"/>
                  </a:lnTo>
                  <a:lnTo>
                    <a:pt x="438151" y="340519"/>
                  </a:lnTo>
                  <a:lnTo>
                    <a:pt x="433389" y="383381"/>
                  </a:lnTo>
                  <a:lnTo>
                    <a:pt x="450057" y="409575"/>
                  </a:lnTo>
                  <a:lnTo>
                    <a:pt x="466726" y="452438"/>
                  </a:lnTo>
                  <a:lnTo>
                    <a:pt x="481014" y="483394"/>
                  </a:lnTo>
                  <a:lnTo>
                    <a:pt x="471489" y="507206"/>
                  </a:lnTo>
                  <a:cubicBezTo>
                    <a:pt x="460376" y="558800"/>
                    <a:pt x="511177" y="596105"/>
                    <a:pt x="500064" y="647699"/>
                  </a:cubicBezTo>
                  <a:cubicBezTo>
                    <a:pt x="492126" y="677862"/>
                    <a:pt x="550864" y="693736"/>
                    <a:pt x="542926" y="723899"/>
                  </a:cubicBezTo>
                  <a:cubicBezTo>
                    <a:pt x="538163" y="739774"/>
                    <a:pt x="619126" y="736599"/>
                    <a:pt x="614363" y="752474"/>
                  </a:cubicBezTo>
                  <a:cubicBezTo>
                    <a:pt x="616347" y="780652"/>
                    <a:pt x="669133" y="700087"/>
                    <a:pt x="576264" y="902493"/>
                  </a:cubicBezTo>
                  <a:cubicBezTo>
                    <a:pt x="548274" y="971548"/>
                    <a:pt x="537703" y="970349"/>
                    <a:pt x="451184" y="1147752"/>
                  </a:cubicBezTo>
                  <a:cubicBezTo>
                    <a:pt x="427162" y="1198947"/>
                    <a:pt x="454944" y="1058850"/>
                    <a:pt x="389272" y="1195377"/>
                  </a:cubicBezTo>
                  <a:cubicBezTo>
                    <a:pt x="373397" y="1213633"/>
                    <a:pt x="392236" y="1123938"/>
                    <a:pt x="336883" y="1252527"/>
                  </a:cubicBezTo>
                  <a:cubicBezTo>
                    <a:pt x="322595" y="1276339"/>
                    <a:pt x="412080" y="1228713"/>
                    <a:pt x="365458" y="1347777"/>
                  </a:cubicBezTo>
                  <a:cubicBezTo>
                    <a:pt x="355933" y="1394608"/>
                    <a:pt x="435892" y="1377938"/>
                    <a:pt x="384508" y="1481127"/>
                  </a:cubicBezTo>
                  <a:cubicBezTo>
                    <a:pt x="374189" y="1525577"/>
                    <a:pt x="310480" y="1466838"/>
                    <a:pt x="255921" y="1547802"/>
                  </a:cubicBezTo>
                  <a:cubicBezTo>
                    <a:pt x="222584" y="1583521"/>
                    <a:pt x="212849" y="1501763"/>
                    <a:pt x="179721" y="1571615"/>
                  </a:cubicBezTo>
                  <a:cubicBezTo>
                    <a:pt x="160671" y="1596221"/>
                    <a:pt x="114424" y="1572407"/>
                    <a:pt x="93996" y="1638290"/>
                  </a:cubicBezTo>
                  <a:cubicBezTo>
                    <a:pt x="76534" y="1671627"/>
                    <a:pt x="76324" y="1716870"/>
                    <a:pt x="70183" y="1771640"/>
                  </a:cubicBezTo>
                  <a:cubicBezTo>
                    <a:pt x="64042" y="1826410"/>
                    <a:pt x="69642" y="1913729"/>
                    <a:pt x="57151" y="1966912"/>
                  </a:cubicBezTo>
                  <a:cubicBezTo>
                    <a:pt x="44660" y="2020095"/>
                    <a:pt x="3175" y="2042715"/>
                    <a:pt x="0" y="2090737"/>
                  </a:cubicBezTo>
                  <a:lnTo>
                    <a:pt x="19051" y="2255044"/>
                  </a:lnTo>
                </a:path>
              </a:pathLst>
            </a:custGeom>
            <a:noFill/>
            <a:ln w="25400" cap="flat" cmpd="sng" algn="ctr">
              <a:solidFill>
                <a:srgbClr val="F79646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09585"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40" name="Group 11"/>
            <p:cNvGrpSpPr/>
            <p:nvPr/>
          </p:nvGrpSpPr>
          <p:grpSpPr>
            <a:xfrm>
              <a:off x="880617" y="3102335"/>
              <a:ext cx="6286499" cy="1728256"/>
              <a:chOff x="2232026" y="2336801"/>
              <a:chExt cx="4714874" cy="1296192"/>
            </a:xfrm>
          </p:grpSpPr>
          <p:grpSp>
            <p:nvGrpSpPr>
              <p:cNvPr id="131" name="Group 24"/>
              <p:cNvGrpSpPr/>
              <p:nvPr/>
            </p:nvGrpSpPr>
            <p:grpSpPr>
              <a:xfrm>
                <a:off x="3787775" y="2336801"/>
                <a:ext cx="3159125" cy="654049"/>
                <a:chOff x="3787775" y="2336801"/>
                <a:chExt cx="3159125" cy="654049"/>
              </a:xfrm>
            </p:grpSpPr>
            <p:sp>
              <p:nvSpPr>
                <p:cNvPr id="133" name="Freeform 15"/>
                <p:cNvSpPr/>
                <p:nvPr/>
              </p:nvSpPr>
              <p:spPr>
                <a:xfrm>
                  <a:off x="3787775" y="2828925"/>
                  <a:ext cx="1984375" cy="161925"/>
                </a:xfrm>
                <a:custGeom>
                  <a:avLst/>
                  <a:gdLst>
                    <a:gd name="connsiteX0" fmla="*/ 0 w 3514725"/>
                    <a:gd name="connsiteY0" fmla="*/ 187325 h 187325"/>
                    <a:gd name="connsiteX1" fmla="*/ 28575 w 3514725"/>
                    <a:gd name="connsiteY1" fmla="*/ 158750 h 187325"/>
                    <a:gd name="connsiteX2" fmla="*/ 63500 w 3514725"/>
                    <a:gd name="connsiteY2" fmla="*/ 127000 h 187325"/>
                    <a:gd name="connsiteX3" fmla="*/ 111125 w 3514725"/>
                    <a:gd name="connsiteY3" fmla="*/ 127000 h 187325"/>
                    <a:gd name="connsiteX4" fmla="*/ 165100 w 3514725"/>
                    <a:gd name="connsiteY4" fmla="*/ 130175 h 187325"/>
                    <a:gd name="connsiteX5" fmla="*/ 190500 w 3514725"/>
                    <a:gd name="connsiteY5" fmla="*/ 149225 h 187325"/>
                    <a:gd name="connsiteX6" fmla="*/ 219075 w 3514725"/>
                    <a:gd name="connsiteY6" fmla="*/ 142875 h 187325"/>
                    <a:gd name="connsiteX7" fmla="*/ 285750 w 3514725"/>
                    <a:gd name="connsiteY7" fmla="*/ 146050 h 187325"/>
                    <a:gd name="connsiteX8" fmla="*/ 311150 w 3514725"/>
                    <a:gd name="connsiteY8" fmla="*/ 158750 h 187325"/>
                    <a:gd name="connsiteX9" fmla="*/ 358775 w 3514725"/>
                    <a:gd name="connsiteY9" fmla="*/ 165100 h 187325"/>
                    <a:gd name="connsiteX10" fmla="*/ 377825 w 3514725"/>
                    <a:gd name="connsiteY10" fmla="*/ 168275 h 187325"/>
                    <a:gd name="connsiteX11" fmla="*/ 438150 w 3514725"/>
                    <a:gd name="connsiteY11" fmla="*/ 177800 h 187325"/>
                    <a:gd name="connsiteX12" fmla="*/ 463550 w 3514725"/>
                    <a:gd name="connsiteY12" fmla="*/ 184150 h 187325"/>
                    <a:gd name="connsiteX13" fmla="*/ 501650 w 3514725"/>
                    <a:gd name="connsiteY13" fmla="*/ 130175 h 187325"/>
                    <a:gd name="connsiteX14" fmla="*/ 517525 w 3514725"/>
                    <a:gd name="connsiteY14" fmla="*/ 114300 h 187325"/>
                    <a:gd name="connsiteX15" fmla="*/ 520700 w 3514725"/>
                    <a:gd name="connsiteY15" fmla="*/ 82550 h 187325"/>
                    <a:gd name="connsiteX16" fmla="*/ 552450 w 3514725"/>
                    <a:gd name="connsiteY16" fmla="*/ 69850 h 187325"/>
                    <a:gd name="connsiteX17" fmla="*/ 606425 w 3514725"/>
                    <a:gd name="connsiteY17" fmla="*/ 60325 h 187325"/>
                    <a:gd name="connsiteX18" fmla="*/ 666750 w 3514725"/>
                    <a:gd name="connsiteY18" fmla="*/ 60325 h 187325"/>
                    <a:gd name="connsiteX19" fmla="*/ 708025 w 3514725"/>
                    <a:gd name="connsiteY19" fmla="*/ 47625 h 187325"/>
                    <a:gd name="connsiteX20" fmla="*/ 771525 w 3514725"/>
                    <a:gd name="connsiteY20" fmla="*/ 38100 h 187325"/>
                    <a:gd name="connsiteX21" fmla="*/ 819150 w 3514725"/>
                    <a:gd name="connsiteY21" fmla="*/ 44450 h 187325"/>
                    <a:gd name="connsiteX22" fmla="*/ 949325 w 3514725"/>
                    <a:gd name="connsiteY22" fmla="*/ 34925 h 187325"/>
                    <a:gd name="connsiteX23" fmla="*/ 1012825 w 3514725"/>
                    <a:gd name="connsiteY23" fmla="*/ 25400 h 187325"/>
                    <a:gd name="connsiteX24" fmla="*/ 1050925 w 3514725"/>
                    <a:gd name="connsiteY24" fmla="*/ 63500 h 187325"/>
                    <a:gd name="connsiteX25" fmla="*/ 1079500 w 3514725"/>
                    <a:gd name="connsiteY25" fmla="*/ 60325 h 187325"/>
                    <a:gd name="connsiteX26" fmla="*/ 1120775 w 3514725"/>
                    <a:gd name="connsiteY26" fmla="*/ 85725 h 187325"/>
                    <a:gd name="connsiteX27" fmla="*/ 1216025 w 3514725"/>
                    <a:gd name="connsiteY27" fmla="*/ 79375 h 187325"/>
                    <a:gd name="connsiteX28" fmla="*/ 1257300 w 3514725"/>
                    <a:gd name="connsiteY28" fmla="*/ 101600 h 187325"/>
                    <a:gd name="connsiteX29" fmla="*/ 1311275 w 3514725"/>
                    <a:gd name="connsiteY29" fmla="*/ 98425 h 187325"/>
                    <a:gd name="connsiteX30" fmla="*/ 1339850 w 3514725"/>
                    <a:gd name="connsiteY30" fmla="*/ 130175 h 187325"/>
                    <a:gd name="connsiteX31" fmla="*/ 1438275 w 3514725"/>
                    <a:gd name="connsiteY31" fmla="*/ 130175 h 187325"/>
                    <a:gd name="connsiteX32" fmla="*/ 1438275 w 3514725"/>
                    <a:gd name="connsiteY32" fmla="*/ 130175 h 187325"/>
                    <a:gd name="connsiteX33" fmla="*/ 1511300 w 3514725"/>
                    <a:gd name="connsiteY33" fmla="*/ 111125 h 187325"/>
                    <a:gd name="connsiteX34" fmla="*/ 1530350 w 3514725"/>
                    <a:gd name="connsiteY34" fmla="*/ 123825 h 187325"/>
                    <a:gd name="connsiteX35" fmla="*/ 1673225 w 3514725"/>
                    <a:gd name="connsiteY35" fmla="*/ 120650 h 187325"/>
                    <a:gd name="connsiteX36" fmla="*/ 1771650 w 3514725"/>
                    <a:gd name="connsiteY36" fmla="*/ 12700 h 187325"/>
                    <a:gd name="connsiteX37" fmla="*/ 1809750 w 3514725"/>
                    <a:gd name="connsiteY37" fmla="*/ 0 h 187325"/>
                    <a:gd name="connsiteX38" fmla="*/ 1882775 w 3514725"/>
                    <a:gd name="connsiteY38" fmla="*/ 0 h 187325"/>
                    <a:gd name="connsiteX39" fmla="*/ 1927225 w 3514725"/>
                    <a:gd name="connsiteY39" fmla="*/ 28575 h 187325"/>
                    <a:gd name="connsiteX40" fmla="*/ 1978025 w 3514725"/>
                    <a:gd name="connsiteY40" fmla="*/ 38100 h 187325"/>
                    <a:gd name="connsiteX41" fmla="*/ 2032000 w 3514725"/>
                    <a:gd name="connsiteY41" fmla="*/ 47625 h 187325"/>
                    <a:gd name="connsiteX42" fmla="*/ 2047875 w 3514725"/>
                    <a:gd name="connsiteY42" fmla="*/ 69850 h 187325"/>
                    <a:gd name="connsiteX43" fmla="*/ 2120900 w 3514725"/>
                    <a:gd name="connsiteY43" fmla="*/ 63500 h 187325"/>
                    <a:gd name="connsiteX44" fmla="*/ 2184400 w 3514725"/>
                    <a:gd name="connsiteY44" fmla="*/ 85725 h 187325"/>
                    <a:gd name="connsiteX45" fmla="*/ 2219325 w 3514725"/>
                    <a:gd name="connsiteY45" fmla="*/ 79375 h 187325"/>
                    <a:gd name="connsiteX46" fmla="*/ 2289175 w 3514725"/>
                    <a:gd name="connsiteY46" fmla="*/ 107950 h 187325"/>
                    <a:gd name="connsiteX47" fmla="*/ 2320925 w 3514725"/>
                    <a:gd name="connsiteY47" fmla="*/ 123825 h 187325"/>
                    <a:gd name="connsiteX48" fmla="*/ 2387600 w 3514725"/>
                    <a:gd name="connsiteY48" fmla="*/ 133350 h 187325"/>
                    <a:gd name="connsiteX49" fmla="*/ 2495550 w 3514725"/>
                    <a:gd name="connsiteY49" fmla="*/ 161925 h 187325"/>
                    <a:gd name="connsiteX50" fmla="*/ 2536825 w 3514725"/>
                    <a:gd name="connsiteY50" fmla="*/ 133350 h 187325"/>
                    <a:gd name="connsiteX51" fmla="*/ 2619375 w 3514725"/>
                    <a:gd name="connsiteY51" fmla="*/ 130175 h 187325"/>
                    <a:gd name="connsiteX52" fmla="*/ 2762250 w 3514725"/>
                    <a:gd name="connsiteY52" fmla="*/ 98425 h 187325"/>
                    <a:gd name="connsiteX53" fmla="*/ 2816225 w 3514725"/>
                    <a:gd name="connsiteY53" fmla="*/ 101600 h 187325"/>
                    <a:gd name="connsiteX54" fmla="*/ 2851150 w 3514725"/>
                    <a:gd name="connsiteY54" fmla="*/ 47625 h 187325"/>
                    <a:gd name="connsiteX55" fmla="*/ 2892425 w 3514725"/>
                    <a:gd name="connsiteY55" fmla="*/ 31750 h 187325"/>
                    <a:gd name="connsiteX56" fmla="*/ 2940050 w 3514725"/>
                    <a:gd name="connsiteY56" fmla="*/ 31750 h 187325"/>
                    <a:gd name="connsiteX57" fmla="*/ 2987675 w 3514725"/>
                    <a:gd name="connsiteY57" fmla="*/ 73025 h 187325"/>
                    <a:gd name="connsiteX58" fmla="*/ 3016250 w 3514725"/>
                    <a:gd name="connsiteY58" fmla="*/ 98425 h 187325"/>
                    <a:gd name="connsiteX59" fmla="*/ 3073400 w 3514725"/>
                    <a:gd name="connsiteY59" fmla="*/ 19050 h 187325"/>
                    <a:gd name="connsiteX60" fmla="*/ 3095625 w 3514725"/>
                    <a:gd name="connsiteY60" fmla="*/ 34925 h 187325"/>
                    <a:gd name="connsiteX61" fmla="*/ 3133725 w 3514725"/>
                    <a:gd name="connsiteY61" fmla="*/ 60325 h 187325"/>
                    <a:gd name="connsiteX62" fmla="*/ 3200400 w 3514725"/>
                    <a:gd name="connsiteY62" fmla="*/ 63500 h 187325"/>
                    <a:gd name="connsiteX63" fmla="*/ 3263900 w 3514725"/>
                    <a:gd name="connsiteY63" fmla="*/ 50800 h 187325"/>
                    <a:gd name="connsiteX64" fmla="*/ 3263900 w 3514725"/>
                    <a:gd name="connsiteY64" fmla="*/ 50800 h 187325"/>
                    <a:gd name="connsiteX65" fmla="*/ 3330575 w 3514725"/>
                    <a:gd name="connsiteY65" fmla="*/ 60325 h 187325"/>
                    <a:gd name="connsiteX66" fmla="*/ 3378200 w 3514725"/>
                    <a:gd name="connsiteY66" fmla="*/ 50800 h 187325"/>
                    <a:gd name="connsiteX67" fmla="*/ 3413125 w 3514725"/>
                    <a:gd name="connsiteY67" fmla="*/ 34925 h 187325"/>
                    <a:gd name="connsiteX68" fmla="*/ 3413125 w 3514725"/>
                    <a:gd name="connsiteY68" fmla="*/ 31750 h 187325"/>
                    <a:gd name="connsiteX69" fmla="*/ 3429000 w 3514725"/>
                    <a:gd name="connsiteY69" fmla="*/ 31750 h 187325"/>
                    <a:gd name="connsiteX70" fmla="*/ 3486150 w 3514725"/>
                    <a:gd name="connsiteY70" fmla="*/ 31750 h 187325"/>
                    <a:gd name="connsiteX71" fmla="*/ 3498850 w 3514725"/>
                    <a:gd name="connsiteY71" fmla="*/ 31750 h 187325"/>
                    <a:gd name="connsiteX72" fmla="*/ 3514725 w 3514725"/>
                    <a:gd name="connsiteY72" fmla="*/ 31750 h 187325"/>
                    <a:gd name="connsiteX0" fmla="*/ 0 w 3784600"/>
                    <a:gd name="connsiteY0" fmla="*/ 447675 h 447675"/>
                    <a:gd name="connsiteX1" fmla="*/ 298450 w 3784600"/>
                    <a:gd name="connsiteY1" fmla="*/ 158750 h 447675"/>
                    <a:gd name="connsiteX2" fmla="*/ 333375 w 3784600"/>
                    <a:gd name="connsiteY2" fmla="*/ 127000 h 447675"/>
                    <a:gd name="connsiteX3" fmla="*/ 381000 w 3784600"/>
                    <a:gd name="connsiteY3" fmla="*/ 127000 h 447675"/>
                    <a:gd name="connsiteX4" fmla="*/ 434975 w 3784600"/>
                    <a:gd name="connsiteY4" fmla="*/ 130175 h 447675"/>
                    <a:gd name="connsiteX5" fmla="*/ 460375 w 3784600"/>
                    <a:gd name="connsiteY5" fmla="*/ 149225 h 447675"/>
                    <a:gd name="connsiteX6" fmla="*/ 488950 w 3784600"/>
                    <a:gd name="connsiteY6" fmla="*/ 142875 h 447675"/>
                    <a:gd name="connsiteX7" fmla="*/ 555625 w 3784600"/>
                    <a:gd name="connsiteY7" fmla="*/ 146050 h 447675"/>
                    <a:gd name="connsiteX8" fmla="*/ 581025 w 3784600"/>
                    <a:gd name="connsiteY8" fmla="*/ 158750 h 447675"/>
                    <a:gd name="connsiteX9" fmla="*/ 628650 w 3784600"/>
                    <a:gd name="connsiteY9" fmla="*/ 165100 h 447675"/>
                    <a:gd name="connsiteX10" fmla="*/ 647700 w 3784600"/>
                    <a:gd name="connsiteY10" fmla="*/ 168275 h 447675"/>
                    <a:gd name="connsiteX11" fmla="*/ 708025 w 3784600"/>
                    <a:gd name="connsiteY11" fmla="*/ 177800 h 447675"/>
                    <a:gd name="connsiteX12" fmla="*/ 733425 w 3784600"/>
                    <a:gd name="connsiteY12" fmla="*/ 184150 h 447675"/>
                    <a:gd name="connsiteX13" fmla="*/ 771525 w 3784600"/>
                    <a:gd name="connsiteY13" fmla="*/ 130175 h 447675"/>
                    <a:gd name="connsiteX14" fmla="*/ 787400 w 3784600"/>
                    <a:gd name="connsiteY14" fmla="*/ 114300 h 447675"/>
                    <a:gd name="connsiteX15" fmla="*/ 790575 w 3784600"/>
                    <a:gd name="connsiteY15" fmla="*/ 82550 h 447675"/>
                    <a:gd name="connsiteX16" fmla="*/ 822325 w 3784600"/>
                    <a:gd name="connsiteY16" fmla="*/ 69850 h 447675"/>
                    <a:gd name="connsiteX17" fmla="*/ 876300 w 3784600"/>
                    <a:gd name="connsiteY17" fmla="*/ 60325 h 447675"/>
                    <a:gd name="connsiteX18" fmla="*/ 936625 w 3784600"/>
                    <a:gd name="connsiteY18" fmla="*/ 60325 h 447675"/>
                    <a:gd name="connsiteX19" fmla="*/ 977900 w 3784600"/>
                    <a:gd name="connsiteY19" fmla="*/ 47625 h 447675"/>
                    <a:gd name="connsiteX20" fmla="*/ 1041400 w 3784600"/>
                    <a:gd name="connsiteY20" fmla="*/ 38100 h 447675"/>
                    <a:gd name="connsiteX21" fmla="*/ 1089025 w 3784600"/>
                    <a:gd name="connsiteY21" fmla="*/ 44450 h 447675"/>
                    <a:gd name="connsiteX22" fmla="*/ 1219200 w 3784600"/>
                    <a:gd name="connsiteY22" fmla="*/ 34925 h 447675"/>
                    <a:gd name="connsiteX23" fmla="*/ 1282700 w 3784600"/>
                    <a:gd name="connsiteY23" fmla="*/ 25400 h 447675"/>
                    <a:gd name="connsiteX24" fmla="*/ 1320800 w 3784600"/>
                    <a:gd name="connsiteY24" fmla="*/ 63500 h 447675"/>
                    <a:gd name="connsiteX25" fmla="*/ 1349375 w 3784600"/>
                    <a:gd name="connsiteY25" fmla="*/ 60325 h 447675"/>
                    <a:gd name="connsiteX26" fmla="*/ 1390650 w 3784600"/>
                    <a:gd name="connsiteY26" fmla="*/ 85725 h 447675"/>
                    <a:gd name="connsiteX27" fmla="*/ 1485900 w 3784600"/>
                    <a:gd name="connsiteY27" fmla="*/ 79375 h 447675"/>
                    <a:gd name="connsiteX28" fmla="*/ 1527175 w 3784600"/>
                    <a:gd name="connsiteY28" fmla="*/ 101600 h 447675"/>
                    <a:gd name="connsiteX29" fmla="*/ 1581150 w 3784600"/>
                    <a:gd name="connsiteY29" fmla="*/ 98425 h 447675"/>
                    <a:gd name="connsiteX30" fmla="*/ 1609725 w 3784600"/>
                    <a:gd name="connsiteY30" fmla="*/ 130175 h 447675"/>
                    <a:gd name="connsiteX31" fmla="*/ 1708150 w 3784600"/>
                    <a:gd name="connsiteY31" fmla="*/ 130175 h 447675"/>
                    <a:gd name="connsiteX32" fmla="*/ 1708150 w 3784600"/>
                    <a:gd name="connsiteY32" fmla="*/ 130175 h 447675"/>
                    <a:gd name="connsiteX33" fmla="*/ 1781175 w 3784600"/>
                    <a:gd name="connsiteY33" fmla="*/ 111125 h 447675"/>
                    <a:gd name="connsiteX34" fmla="*/ 1800225 w 3784600"/>
                    <a:gd name="connsiteY34" fmla="*/ 123825 h 447675"/>
                    <a:gd name="connsiteX35" fmla="*/ 1943100 w 3784600"/>
                    <a:gd name="connsiteY35" fmla="*/ 120650 h 447675"/>
                    <a:gd name="connsiteX36" fmla="*/ 2041525 w 3784600"/>
                    <a:gd name="connsiteY36" fmla="*/ 12700 h 447675"/>
                    <a:gd name="connsiteX37" fmla="*/ 2079625 w 3784600"/>
                    <a:gd name="connsiteY37" fmla="*/ 0 h 447675"/>
                    <a:gd name="connsiteX38" fmla="*/ 2152650 w 3784600"/>
                    <a:gd name="connsiteY38" fmla="*/ 0 h 447675"/>
                    <a:gd name="connsiteX39" fmla="*/ 2197100 w 3784600"/>
                    <a:gd name="connsiteY39" fmla="*/ 28575 h 447675"/>
                    <a:gd name="connsiteX40" fmla="*/ 2247900 w 3784600"/>
                    <a:gd name="connsiteY40" fmla="*/ 38100 h 447675"/>
                    <a:gd name="connsiteX41" fmla="*/ 2301875 w 3784600"/>
                    <a:gd name="connsiteY41" fmla="*/ 47625 h 447675"/>
                    <a:gd name="connsiteX42" fmla="*/ 2317750 w 3784600"/>
                    <a:gd name="connsiteY42" fmla="*/ 69850 h 447675"/>
                    <a:gd name="connsiteX43" fmla="*/ 2390775 w 3784600"/>
                    <a:gd name="connsiteY43" fmla="*/ 63500 h 447675"/>
                    <a:gd name="connsiteX44" fmla="*/ 2454275 w 3784600"/>
                    <a:gd name="connsiteY44" fmla="*/ 85725 h 447675"/>
                    <a:gd name="connsiteX45" fmla="*/ 2489200 w 3784600"/>
                    <a:gd name="connsiteY45" fmla="*/ 79375 h 447675"/>
                    <a:gd name="connsiteX46" fmla="*/ 2559050 w 3784600"/>
                    <a:gd name="connsiteY46" fmla="*/ 107950 h 447675"/>
                    <a:gd name="connsiteX47" fmla="*/ 2590800 w 3784600"/>
                    <a:gd name="connsiteY47" fmla="*/ 123825 h 447675"/>
                    <a:gd name="connsiteX48" fmla="*/ 2657475 w 3784600"/>
                    <a:gd name="connsiteY48" fmla="*/ 133350 h 447675"/>
                    <a:gd name="connsiteX49" fmla="*/ 2765425 w 3784600"/>
                    <a:gd name="connsiteY49" fmla="*/ 161925 h 447675"/>
                    <a:gd name="connsiteX50" fmla="*/ 2806700 w 3784600"/>
                    <a:gd name="connsiteY50" fmla="*/ 133350 h 447675"/>
                    <a:gd name="connsiteX51" fmla="*/ 2889250 w 3784600"/>
                    <a:gd name="connsiteY51" fmla="*/ 130175 h 447675"/>
                    <a:gd name="connsiteX52" fmla="*/ 3032125 w 3784600"/>
                    <a:gd name="connsiteY52" fmla="*/ 98425 h 447675"/>
                    <a:gd name="connsiteX53" fmla="*/ 3086100 w 3784600"/>
                    <a:gd name="connsiteY53" fmla="*/ 101600 h 447675"/>
                    <a:gd name="connsiteX54" fmla="*/ 3121025 w 3784600"/>
                    <a:gd name="connsiteY54" fmla="*/ 47625 h 447675"/>
                    <a:gd name="connsiteX55" fmla="*/ 3162300 w 3784600"/>
                    <a:gd name="connsiteY55" fmla="*/ 31750 h 447675"/>
                    <a:gd name="connsiteX56" fmla="*/ 3209925 w 3784600"/>
                    <a:gd name="connsiteY56" fmla="*/ 31750 h 447675"/>
                    <a:gd name="connsiteX57" fmla="*/ 3257550 w 3784600"/>
                    <a:gd name="connsiteY57" fmla="*/ 73025 h 447675"/>
                    <a:gd name="connsiteX58" fmla="*/ 3286125 w 3784600"/>
                    <a:gd name="connsiteY58" fmla="*/ 98425 h 447675"/>
                    <a:gd name="connsiteX59" fmla="*/ 3343275 w 3784600"/>
                    <a:gd name="connsiteY59" fmla="*/ 19050 h 447675"/>
                    <a:gd name="connsiteX60" fmla="*/ 3365500 w 3784600"/>
                    <a:gd name="connsiteY60" fmla="*/ 34925 h 447675"/>
                    <a:gd name="connsiteX61" fmla="*/ 3403600 w 3784600"/>
                    <a:gd name="connsiteY61" fmla="*/ 60325 h 447675"/>
                    <a:gd name="connsiteX62" fmla="*/ 3470275 w 3784600"/>
                    <a:gd name="connsiteY62" fmla="*/ 63500 h 447675"/>
                    <a:gd name="connsiteX63" fmla="*/ 3533775 w 3784600"/>
                    <a:gd name="connsiteY63" fmla="*/ 50800 h 447675"/>
                    <a:gd name="connsiteX64" fmla="*/ 3533775 w 3784600"/>
                    <a:gd name="connsiteY64" fmla="*/ 50800 h 447675"/>
                    <a:gd name="connsiteX65" fmla="*/ 3600450 w 3784600"/>
                    <a:gd name="connsiteY65" fmla="*/ 60325 h 447675"/>
                    <a:gd name="connsiteX66" fmla="*/ 3648075 w 3784600"/>
                    <a:gd name="connsiteY66" fmla="*/ 50800 h 447675"/>
                    <a:gd name="connsiteX67" fmla="*/ 3683000 w 3784600"/>
                    <a:gd name="connsiteY67" fmla="*/ 34925 h 447675"/>
                    <a:gd name="connsiteX68" fmla="*/ 3683000 w 3784600"/>
                    <a:gd name="connsiteY68" fmla="*/ 31750 h 447675"/>
                    <a:gd name="connsiteX69" fmla="*/ 3698875 w 3784600"/>
                    <a:gd name="connsiteY69" fmla="*/ 31750 h 447675"/>
                    <a:gd name="connsiteX70" fmla="*/ 3756025 w 3784600"/>
                    <a:gd name="connsiteY70" fmla="*/ 31750 h 447675"/>
                    <a:gd name="connsiteX71" fmla="*/ 3768725 w 3784600"/>
                    <a:gd name="connsiteY71" fmla="*/ 31750 h 447675"/>
                    <a:gd name="connsiteX72" fmla="*/ 3784600 w 3784600"/>
                    <a:gd name="connsiteY72" fmla="*/ 31750 h 447675"/>
                    <a:gd name="connsiteX0" fmla="*/ 0 w 3784600"/>
                    <a:gd name="connsiteY0" fmla="*/ 447675 h 447675"/>
                    <a:gd name="connsiteX1" fmla="*/ 53975 w 3784600"/>
                    <a:gd name="connsiteY1" fmla="*/ 441325 h 447675"/>
                    <a:gd name="connsiteX2" fmla="*/ 298450 w 3784600"/>
                    <a:gd name="connsiteY2" fmla="*/ 158750 h 447675"/>
                    <a:gd name="connsiteX3" fmla="*/ 333375 w 3784600"/>
                    <a:gd name="connsiteY3" fmla="*/ 127000 h 447675"/>
                    <a:gd name="connsiteX4" fmla="*/ 381000 w 3784600"/>
                    <a:gd name="connsiteY4" fmla="*/ 127000 h 447675"/>
                    <a:gd name="connsiteX5" fmla="*/ 434975 w 3784600"/>
                    <a:gd name="connsiteY5" fmla="*/ 130175 h 447675"/>
                    <a:gd name="connsiteX6" fmla="*/ 460375 w 3784600"/>
                    <a:gd name="connsiteY6" fmla="*/ 149225 h 447675"/>
                    <a:gd name="connsiteX7" fmla="*/ 488950 w 3784600"/>
                    <a:gd name="connsiteY7" fmla="*/ 142875 h 447675"/>
                    <a:gd name="connsiteX8" fmla="*/ 555625 w 3784600"/>
                    <a:gd name="connsiteY8" fmla="*/ 146050 h 447675"/>
                    <a:gd name="connsiteX9" fmla="*/ 581025 w 3784600"/>
                    <a:gd name="connsiteY9" fmla="*/ 158750 h 447675"/>
                    <a:gd name="connsiteX10" fmla="*/ 628650 w 3784600"/>
                    <a:gd name="connsiteY10" fmla="*/ 165100 h 447675"/>
                    <a:gd name="connsiteX11" fmla="*/ 647700 w 3784600"/>
                    <a:gd name="connsiteY11" fmla="*/ 168275 h 447675"/>
                    <a:gd name="connsiteX12" fmla="*/ 708025 w 3784600"/>
                    <a:gd name="connsiteY12" fmla="*/ 177800 h 447675"/>
                    <a:gd name="connsiteX13" fmla="*/ 733425 w 3784600"/>
                    <a:gd name="connsiteY13" fmla="*/ 184150 h 447675"/>
                    <a:gd name="connsiteX14" fmla="*/ 771525 w 3784600"/>
                    <a:gd name="connsiteY14" fmla="*/ 130175 h 447675"/>
                    <a:gd name="connsiteX15" fmla="*/ 787400 w 3784600"/>
                    <a:gd name="connsiteY15" fmla="*/ 114300 h 447675"/>
                    <a:gd name="connsiteX16" fmla="*/ 790575 w 3784600"/>
                    <a:gd name="connsiteY16" fmla="*/ 82550 h 447675"/>
                    <a:gd name="connsiteX17" fmla="*/ 822325 w 3784600"/>
                    <a:gd name="connsiteY17" fmla="*/ 69850 h 447675"/>
                    <a:gd name="connsiteX18" fmla="*/ 876300 w 3784600"/>
                    <a:gd name="connsiteY18" fmla="*/ 60325 h 447675"/>
                    <a:gd name="connsiteX19" fmla="*/ 936625 w 3784600"/>
                    <a:gd name="connsiteY19" fmla="*/ 60325 h 447675"/>
                    <a:gd name="connsiteX20" fmla="*/ 977900 w 3784600"/>
                    <a:gd name="connsiteY20" fmla="*/ 47625 h 447675"/>
                    <a:gd name="connsiteX21" fmla="*/ 1041400 w 3784600"/>
                    <a:gd name="connsiteY21" fmla="*/ 38100 h 447675"/>
                    <a:gd name="connsiteX22" fmla="*/ 1089025 w 3784600"/>
                    <a:gd name="connsiteY22" fmla="*/ 44450 h 447675"/>
                    <a:gd name="connsiteX23" fmla="*/ 1219200 w 3784600"/>
                    <a:gd name="connsiteY23" fmla="*/ 34925 h 447675"/>
                    <a:gd name="connsiteX24" fmla="*/ 1282700 w 3784600"/>
                    <a:gd name="connsiteY24" fmla="*/ 25400 h 447675"/>
                    <a:gd name="connsiteX25" fmla="*/ 1320800 w 3784600"/>
                    <a:gd name="connsiteY25" fmla="*/ 63500 h 447675"/>
                    <a:gd name="connsiteX26" fmla="*/ 1349375 w 3784600"/>
                    <a:gd name="connsiteY26" fmla="*/ 60325 h 447675"/>
                    <a:gd name="connsiteX27" fmla="*/ 1390650 w 3784600"/>
                    <a:gd name="connsiteY27" fmla="*/ 85725 h 447675"/>
                    <a:gd name="connsiteX28" fmla="*/ 1485900 w 3784600"/>
                    <a:gd name="connsiteY28" fmla="*/ 79375 h 447675"/>
                    <a:gd name="connsiteX29" fmla="*/ 1527175 w 3784600"/>
                    <a:gd name="connsiteY29" fmla="*/ 101600 h 447675"/>
                    <a:gd name="connsiteX30" fmla="*/ 1581150 w 3784600"/>
                    <a:gd name="connsiteY30" fmla="*/ 98425 h 447675"/>
                    <a:gd name="connsiteX31" fmla="*/ 1609725 w 3784600"/>
                    <a:gd name="connsiteY31" fmla="*/ 130175 h 447675"/>
                    <a:gd name="connsiteX32" fmla="*/ 1708150 w 3784600"/>
                    <a:gd name="connsiteY32" fmla="*/ 130175 h 447675"/>
                    <a:gd name="connsiteX33" fmla="*/ 1708150 w 3784600"/>
                    <a:gd name="connsiteY33" fmla="*/ 130175 h 447675"/>
                    <a:gd name="connsiteX34" fmla="*/ 1781175 w 3784600"/>
                    <a:gd name="connsiteY34" fmla="*/ 111125 h 447675"/>
                    <a:gd name="connsiteX35" fmla="*/ 1800225 w 3784600"/>
                    <a:gd name="connsiteY35" fmla="*/ 123825 h 447675"/>
                    <a:gd name="connsiteX36" fmla="*/ 1943100 w 3784600"/>
                    <a:gd name="connsiteY36" fmla="*/ 120650 h 447675"/>
                    <a:gd name="connsiteX37" fmla="*/ 2041525 w 3784600"/>
                    <a:gd name="connsiteY37" fmla="*/ 12700 h 447675"/>
                    <a:gd name="connsiteX38" fmla="*/ 2079625 w 3784600"/>
                    <a:gd name="connsiteY38" fmla="*/ 0 h 447675"/>
                    <a:gd name="connsiteX39" fmla="*/ 2152650 w 3784600"/>
                    <a:gd name="connsiteY39" fmla="*/ 0 h 447675"/>
                    <a:gd name="connsiteX40" fmla="*/ 2197100 w 3784600"/>
                    <a:gd name="connsiteY40" fmla="*/ 28575 h 447675"/>
                    <a:gd name="connsiteX41" fmla="*/ 2247900 w 3784600"/>
                    <a:gd name="connsiteY41" fmla="*/ 38100 h 447675"/>
                    <a:gd name="connsiteX42" fmla="*/ 2301875 w 3784600"/>
                    <a:gd name="connsiteY42" fmla="*/ 47625 h 447675"/>
                    <a:gd name="connsiteX43" fmla="*/ 2317750 w 3784600"/>
                    <a:gd name="connsiteY43" fmla="*/ 69850 h 447675"/>
                    <a:gd name="connsiteX44" fmla="*/ 2390775 w 3784600"/>
                    <a:gd name="connsiteY44" fmla="*/ 63500 h 447675"/>
                    <a:gd name="connsiteX45" fmla="*/ 2454275 w 3784600"/>
                    <a:gd name="connsiteY45" fmla="*/ 85725 h 447675"/>
                    <a:gd name="connsiteX46" fmla="*/ 2489200 w 3784600"/>
                    <a:gd name="connsiteY46" fmla="*/ 79375 h 447675"/>
                    <a:gd name="connsiteX47" fmla="*/ 2559050 w 3784600"/>
                    <a:gd name="connsiteY47" fmla="*/ 107950 h 447675"/>
                    <a:gd name="connsiteX48" fmla="*/ 2590800 w 3784600"/>
                    <a:gd name="connsiteY48" fmla="*/ 123825 h 447675"/>
                    <a:gd name="connsiteX49" fmla="*/ 2657475 w 3784600"/>
                    <a:gd name="connsiteY49" fmla="*/ 133350 h 447675"/>
                    <a:gd name="connsiteX50" fmla="*/ 2765425 w 3784600"/>
                    <a:gd name="connsiteY50" fmla="*/ 161925 h 447675"/>
                    <a:gd name="connsiteX51" fmla="*/ 2806700 w 3784600"/>
                    <a:gd name="connsiteY51" fmla="*/ 133350 h 447675"/>
                    <a:gd name="connsiteX52" fmla="*/ 2889250 w 3784600"/>
                    <a:gd name="connsiteY52" fmla="*/ 130175 h 447675"/>
                    <a:gd name="connsiteX53" fmla="*/ 3032125 w 3784600"/>
                    <a:gd name="connsiteY53" fmla="*/ 98425 h 447675"/>
                    <a:gd name="connsiteX54" fmla="*/ 3086100 w 3784600"/>
                    <a:gd name="connsiteY54" fmla="*/ 101600 h 447675"/>
                    <a:gd name="connsiteX55" fmla="*/ 3121025 w 3784600"/>
                    <a:gd name="connsiteY55" fmla="*/ 47625 h 447675"/>
                    <a:gd name="connsiteX56" fmla="*/ 3162300 w 3784600"/>
                    <a:gd name="connsiteY56" fmla="*/ 31750 h 447675"/>
                    <a:gd name="connsiteX57" fmla="*/ 3209925 w 3784600"/>
                    <a:gd name="connsiteY57" fmla="*/ 31750 h 447675"/>
                    <a:gd name="connsiteX58" fmla="*/ 3257550 w 3784600"/>
                    <a:gd name="connsiteY58" fmla="*/ 73025 h 447675"/>
                    <a:gd name="connsiteX59" fmla="*/ 3286125 w 3784600"/>
                    <a:gd name="connsiteY59" fmla="*/ 98425 h 447675"/>
                    <a:gd name="connsiteX60" fmla="*/ 3343275 w 3784600"/>
                    <a:gd name="connsiteY60" fmla="*/ 19050 h 447675"/>
                    <a:gd name="connsiteX61" fmla="*/ 3365500 w 3784600"/>
                    <a:gd name="connsiteY61" fmla="*/ 34925 h 447675"/>
                    <a:gd name="connsiteX62" fmla="*/ 3403600 w 3784600"/>
                    <a:gd name="connsiteY62" fmla="*/ 60325 h 447675"/>
                    <a:gd name="connsiteX63" fmla="*/ 3470275 w 3784600"/>
                    <a:gd name="connsiteY63" fmla="*/ 63500 h 447675"/>
                    <a:gd name="connsiteX64" fmla="*/ 3533775 w 3784600"/>
                    <a:gd name="connsiteY64" fmla="*/ 50800 h 447675"/>
                    <a:gd name="connsiteX65" fmla="*/ 3533775 w 3784600"/>
                    <a:gd name="connsiteY65" fmla="*/ 50800 h 447675"/>
                    <a:gd name="connsiteX66" fmla="*/ 3600450 w 3784600"/>
                    <a:gd name="connsiteY66" fmla="*/ 60325 h 447675"/>
                    <a:gd name="connsiteX67" fmla="*/ 3648075 w 3784600"/>
                    <a:gd name="connsiteY67" fmla="*/ 50800 h 447675"/>
                    <a:gd name="connsiteX68" fmla="*/ 3683000 w 3784600"/>
                    <a:gd name="connsiteY68" fmla="*/ 34925 h 447675"/>
                    <a:gd name="connsiteX69" fmla="*/ 3683000 w 3784600"/>
                    <a:gd name="connsiteY69" fmla="*/ 31750 h 447675"/>
                    <a:gd name="connsiteX70" fmla="*/ 3698875 w 3784600"/>
                    <a:gd name="connsiteY70" fmla="*/ 31750 h 447675"/>
                    <a:gd name="connsiteX71" fmla="*/ 3756025 w 3784600"/>
                    <a:gd name="connsiteY71" fmla="*/ 31750 h 447675"/>
                    <a:gd name="connsiteX72" fmla="*/ 3768725 w 3784600"/>
                    <a:gd name="connsiteY72" fmla="*/ 31750 h 447675"/>
                    <a:gd name="connsiteX73" fmla="*/ 3784600 w 3784600"/>
                    <a:gd name="connsiteY73" fmla="*/ 31750 h 447675"/>
                    <a:gd name="connsiteX0" fmla="*/ 0 w 3784600"/>
                    <a:gd name="connsiteY0" fmla="*/ 447675 h 471387"/>
                    <a:gd name="connsiteX1" fmla="*/ 53975 w 3784600"/>
                    <a:gd name="connsiteY1" fmla="*/ 441325 h 471387"/>
                    <a:gd name="connsiteX2" fmla="*/ 85725 w 3784600"/>
                    <a:gd name="connsiteY2" fmla="*/ 469900 h 471387"/>
                    <a:gd name="connsiteX3" fmla="*/ 298450 w 3784600"/>
                    <a:gd name="connsiteY3" fmla="*/ 158750 h 471387"/>
                    <a:gd name="connsiteX4" fmla="*/ 333375 w 3784600"/>
                    <a:gd name="connsiteY4" fmla="*/ 127000 h 471387"/>
                    <a:gd name="connsiteX5" fmla="*/ 381000 w 3784600"/>
                    <a:gd name="connsiteY5" fmla="*/ 127000 h 471387"/>
                    <a:gd name="connsiteX6" fmla="*/ 434975 w 3784600"/>
                    <a:gd name="connsiteY6" fmla="*/ 130175 h 471387"/>
                    <a:gd name="connsiteX7" fmla="*/ 460375 w 3784600"/>
                    <a:gd name="connsiteY7" fmla="*/ 149225 h 471387"/>
                    <a:gd name="connsiteX8" fmla="*/ 488950 w 3784600"/>
                    <a:gd name="connsiteY8" fmla="*/ 142875 h 471387"/>
                    <a:gd name="connsiteX9" fmla="*/ 555625 w 3784600"/>
                    <a:gd name="connsiteY9" fmla="*/ 146050 h 471387"/>
                    <a:gd name="connsiteX10" fmla="*/ 581025 w 3784600"/>
                    <a:gd name="connsiteY10" fmla="*/ 158750 h 471387"/>
                    <a:gd name="connsiteX11" fmla="*/ 628650 w 3784600"/>
                    <a:gd name="connsiteY11" fmla="*/ 165100 h 471387"/>
                    <a:gd name="connsiteX12" fmla="*/ 647700 w 3784600"/>
                    <a:gd name="connsiteY12" fmla="*/ 168275 h 471387"/>
                    <a:gd name="connsiteX13" fmla="*/ 708025 w 3784600"/>
                    <a:gd name="connsiteY13" fmla="*/ 177800 h 471387"/>
                    <a:gd name="connsiteX14" fmla="*/ 733425 w 3784600"/>
                    <a:gd name="connsiteY14" fmla="*/ 184150 h 471387"/>
                    <a:gd name="connsiteX15" fmla="*/ 771525 w 3784600"/>
                    <a:gd name="connsiteY15" fmla="*/ 130175 h 471387"/>
                    <a:gd name="connsiteX16" fmla="*/ 787400 w 3784600"/>
                    <a:gd name="connsiteY16" fmla="*/ 114300 h 471387"/>
                    <a:gd name="connsiteX17" fmla="*/ 790575 w 3784600"/>
                    <a:gd name="connsiteY17" fmla="*/ 82550 h 471387"/>
                    <a:gd name="connsiteX18" fmla="*/ 822325 w 3784600"/>
                    <a:gd name="connsiteY18" fmla="*/ 69850 h 471387"/>
                    <a:gd name="connsiteX19" fmla="*/ 876300 w 3784600"/>
                    <a:gd name="connsiteY19" fmla="*/ 60325 h 471387"/>
                    <a:gd name="connsiteX20" fmla="*/ 936625 w 3784600"/>
                    <a:gd name="connsiteY20" fmla="*/ 60325 h 471387"/>
                    <a:gd name="connsiteX21" fmla="*/ 977900 w 3784600"/>
                    <a:gd name="connsiteY21" fmla="*/ 47625 h 471387"/>
                    <a:gd name="connsiteX22" fmla="*/ 1041400 w 3784600"/>
                    <a:gd name="connsiteY22" fmla="*/ 38100 h 471387"/>
                    <a:gd name="connsiteX23" fmla="*/ 1089025 w 3784600"/>
                    <a:gd name="connsiteY23" fmla="*/ 44450 h 471387"/>
                    <a:gd name="connsiteX24" fmla="*/ 1219200 w 3784600"/>
                    <a:gd name="connsiteY24" fmla="*/ 34925 h 471387"/>
                    <a:gd name="connsiteX25" fmla="*/ 1282700 w 3784600"/>
                    <a:gd name="connsiteY25" fmla="*/ 25400 h 471387"/>
                    <a:gd name="connsiteX26" fmla="*/ 1320800 w 3784600"/>
                    <a:gd name="connsiteY26" fmla="*/ 63500 h 471387"/>
                    <a:gd name="connsiteX27" fmla="*/ 1349375 w 3784600"/>
                    <a:gd name="connsiteY27" fmla="*/ 60325 h 471387"/>
                    <a:gd name="connsiteX28" fmla="*/ 1390650 w 3784600"/>
                    <a:gd name="connsiteY28" fmla="*/ 85725 h 471387"/>
                    <a:gd name="connsiteX29" fmla="*/ 1485900 w 3784600"/>
                    <a:gd name="connsiteY29" fmla="*/ 79375 h 471387"/>
                    <a:gd name="connsiteX30" fmla="*/ 1527175 w 3784600"/>
                    <a:gd name="connsiteY30" fmla="*/ 101600 h 471387"/>
                    <a:gd name="connsiteX31" fmla="*/ 1581150 w 3784600"/>
                    <a:gd name="connsiteY31" fmla="*/ 98425 h 471387"/>
                    <a:gd name="connsiteX32" fmla="*/ 1609725 w 3784600"/>
                    <a:gd name="connsiteY32" fmla="*/ 130175 h 471387"/>
                    <a:gd name="connsiteX33" fmla="*/ 1708150 w 3784600"/>
                    <a:gd name="connsiteY33" fmla="*/ 130175 h 471387"/>
                    <a:gd name="connsiteX34" fmla="*/ 1708150 w 3784600"/>
                    <a:gd name="connsiteY34" fmla="*/ 130175 h 471387"/>
                    <a:gd name="connsiteX35" fmla="*/ 1781175 w 3784600"/>
                    <a:gd name="connsiteY35" fmla="*/ 111125 h 471387"/>
                    <a:gd name="connsiteX36" fmla="*/ 1800225 w 3784600"/>
                    <a:gd name="connsiteY36" fmla="*/ 123825 h 471387"/>
                    <a:gd name="connsiteX37" fmla="*/ 1943100 w 3784600"/>
                    <a:gd name="connsiteY37" fmla="*/ 120650 h 471387"/>
                    <a:gd name="connsiteX38" fmla="*/ 2041525 w 3784600"/>
                    <a:gd name="connsiteY38" fmla="*/ 12700 h 471387"/>
                    <a:gd name="connsiteX39" fmla="*/ 2079625 w 3784600"/>
                    <a:gd name="connsiteY39" fmla="*/ 0 h 471387"/>
                    <a:gd name="connsiteX40" fmla="*/ 2152650 w 3784600"/>
                    <a:gd name="connsiteY40" fmla="*/ 0 h 471387"/>
                    <a:gd name="connsiteX41" fmla="*/ 2197100 w 3784600"/>
                    <a:gd name="connsiteY41" fmla="*/ 28575 h 471387"/>
                    <a:gd name="connsiteX42" fmla="*/ 2247900 w 3784600"/>
                    <a:gd name="connsiteY42" fmla="*/ 38100 h 471387"/>
                    <a:gd name="connsiteX43" fmla="*/ 2301875 w 3784600"/>
                    <a:gd name="connsiteY43" fmla="*/ 47625 h 471387"/>
                    <a:gd name="connsiteX44" fmla="*/ 2317750 w 3784600"/>
                    <a:gd name="connsiteY44" fmla="*/ 69850 h 471387"/>
                    <a:gd name="connsiteX45" fmla="*/ 2390775 w 3784600"/>
                    <a:gd name="connsiteY45" fmla="*/ 63500 h 471387"/>
                    <a:gd name="connsiteX46" fmla="*/ 2454275 w 3784600"/>
                    <a:gd name="connsiteY46" fmla="*/ 85725 h 471387"/>
                    <a:gd name="connsiteX47" fmla="*/ 2489200 w 3784600"/>
                    <a:gd name="connsiteY47" fmla="*/ 79375 h 471387"/>
                    <a:gd name="connsiteX48" fmla="*/ 2559050 w 3784600"/>
                    <a:gd name="connsiteY48" fmla="*/ 107950 h 471387"/>
                    <a:gd name="connsiteX49" fmla="*/ 2590800 w 3784600"/>
                    <a:gd name="connsiteY49" fmla="*/ 123825 h 471387"/>
                    <a:gd name="connsiteX50" fmla="*/ 2657475 w 3784600"/>
                    <a:gd name="connsiteY50" fmla="*/ 133350 h 471387"/>
                    <a:gd name="connsiteX51" fmla="*/ 2765425 w 3784600"/>
                    <a:gd name="connsiteY51" fmla="*/ 161925 h 471387"/>
                    <a:gd name="connsiteX52" fmla="*/ 2806700 w 3784600"/>
                    <a:gd name="connsiteY52" fmla="*/ 133350 h 471387"/>
                    <a:gd name="connsiteX53" fmla="*/ 2889250 w 3784600"/>
                    <a:gd name="connsiteY53" fmla="*/ 130175 h 471387"/>
                    <a:gd name="connsiteX54" fmla="*/ 3032125 w 3784600"/>
                    <a:gd name="connsiteY54" fmla="*/ 98425 h 471387"/>
                    <a:gd name="connsiteX55" fmla="*/ 3086100 w 3784600"/>
                    <a:gd name="connsiteY55" fmla="*/ 101600 h 471387"/>
                    <a:gd name="connsiteX56" fmla="*/ 3121025 w 3784600"/>
                    <a:gd name="connsiteY56" fmla="*/ 47625 h 471387"/>
                    <a:gd name="connsiteX57" fmla="*/ 3162300 w 3784600"/>
                    <a:gd name="connsiteY57" fmla="*/ 31750 h 471387"/>
                    <a:gd name="connsiteX58" fmla="*/ 3209925 w 3784600"/>
                    <a:gd name="connsiteY58" fmla="*/ 31750 h 471387"/>
                    <a:gd name="connsiteX59" fmla="*/ 3257550 w 3784600"/>
                    <a:gd name="connsiteY59" fmla="*/ 73025 h 471387"/>
                    <a:gd name="connsiteX60" fmla="*/ 3286125 w 3784600"/>
                    <a:gd name="connsiteY60" fmla="*/ 98425 h 471387"/>
                    <a:gd name="connsiteX61" fmla="*/ 3343275 w 3784600"/>
                    <a:gd name="connsiteY61" fmla="*/ 19050 h 471387"/>
                    <a:gd name="connsiteX62" fmla="*/ 3365500 w 3784600"/>
                    <a:gd name="connsiteY62" fmla="*/ 34925 h 471387"/>
                    <a:gd name="connsiteX63" fmla="*/ 3403600 w 3784600"/>
                    <a:gd name="connsiteY63" fmla="*/ 60325 h 471387"/>
                    <a:gd name="connsiteX64" fmla="*/ 3470275 w 3784600"/>
                    <a:gd name="connsiteY64" fmla="*/ 63500 h 471387"/>
                    <a:gd name="connsiteX65" fmla="*/ 3533775 w 3784600"/>
                    <a:gd name="connsiteY65" fmla="*/ 50800 h 471387"/>
                    <a:gd name="connsiteX66" fmla="*/ 3533775 w 3784600"/>
                    <a:gd name="connsiteY66" fmla="*/ 50800 h 471387"/>
                    <a:gd name="connsiteX67" fmla="*/ 3600450 w 3784600"/>
                    <a:gd name="connsiteY67" fmla="*/ 60325 h 471387"/>
                    <a:gd name="connsiteX68" fmla="*/ 3648075 w 3784600"/>
                    <a:gd name="connsiteY68" fmla="*/ 50800 h 471387"/>
                    <a:gd name="connsiteX69" fmla="*/ 3683000 w 3784600"/>
                    <a:gd name="connsiteY69" fmla="*/ 34925 h 471387"/>
                    <a:gd name="connsiteX70" fmla="*/ 3683000 w 3784600"/>
                    <a:gd name="connsiteY70" fmla="*/ 31750 h 471387"/>
                    <a:gd name="connsiteX71" fmla="*/ 3698875 w 3784600"/>
                    <a:gd name="connsiteY71" fmla="*/ 31750 h 471387"/>
                    <a:gd name="connsiteX72" fmla="*/ 3756025 w 3784600"/>
                    <a:gd name="connsiteY72" fmla="*/ 31750 h 471387"/>
                    <a:gd name="connsiteX73" fmla="*/ 3768725 w 3784600"/>
                    <a:gd name="connsiteY73" fmla="*/ 31750 h 471387"/>
                    <a:gd name="connsiteX74" fmla="*/ 3784600 w 3784600"/>
                    <a:gd name="connsiteY74" fmla="*/ 31750 h 471387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298450 w 3784600"/>
                    <a:gd name="connsiteY4" fmla="*/ 158750 h 473871"/>
                    <a:gd name="connsiteX5" fmla="*/ 333375 w 3784600"/>
                    <a:gd name="connsiteY5" fmla="*/ 127000 h 473871"/>
                    <a:gd name="connsiteX6" fmla="*/ 381000 w 3784600"/>
                    <a:gd name="connsiteY6" fmla="*/ 127000 h 473871"/>
                    <a:gd name="connsiteX7" fmla="*/ 434975 w 3784600"/>
                    <a:gd name="connsiteY7" fmla="*/ 130175 h 473871"/>
                    <a:gd name="connsiteX8" fmla="*/ 460375 w 3784600"/>
                    <a:gd name="connsiteY8" fmla="*/ 149225 h 473871"/>
                    <a:gd name="connsiteX9" fmla="*/ 488950 w 3784600"/>
                    <a:gd name="connsiteY9" fmla="*/ 142875 h 473871"/>
                    <a:gd name="connsiteX10" fmla="*/ 555625 w 3784600"/>
                    <a:gd name="connsiteY10" fmla="*/ 146050 h 473871"/>
                    <a:gd name="connsiteX11" fmla="*/ 581025 w 3784600"/>
                    <a:gd name="connsiteY11" fmla="*/ 158750 h 473871"/>
                    <a:gd name="connsiteX12" fmla="*/ 628650 w 3784600"/>
                    <a:gd name="connsiteY12" fmla="*/ 165100 h 473871"/>
                    <a:gd name="connsiteX13" fmla="*/ 647700 w 3784600"/>
                    <a:gd name="connsiteY13" fmla="*/ 168275 h 473871"/>
                    <a:gd name="connsiteX14" fmla="*/ 708025 w 3784600"/>
                    <a:gd name="connsiteY14" fmla="*/ 177800 h 473871"/>
                    <a:gd name="connsiteX15" fmla="*/ 733425 w 3784600"/>
                    <a:gd name="connsiteY15" fmla="*/ 184150 h 473871"/>
                    <a:gd name="connsiteX16" fmla="*/ 771525 w 3784600"/>
                    <a:gd name="connsiteY16" fmla="*/ 130175 h 473871"/>
                    <a:gd name="connsiteX17" fmla="*/ 787400 w 3784600"/>
                    <a:gd name="connsiteY17" fmla="*/ 114300 h 473871"/>
                    <a:gd name="connsiteX18" fmla="*/ 790575 w 3784600"/>
                    <a:gd name="connsiteY18" fmla="*/ 82550 h 473871"/>
                    <a:gd name="connsiteX19" fmla="*/ 822325 w 3784600"/>
                    <a:gd name="connsiteY19" fmla="*/ 69850 h 473871"/>
                    <a:gd name="connsiteX20" fmla="*/ 876300 w 3784600"/>
                    <a:gd name="connsiteY20" fmla="*/ 60325 h 473871"/>
                    <a:gd name="connsiteX21" fmla="*/ 936625 w 3784600"/>
                    <a:gd name="connsiteY21" fmla="*/ 60325 h 473871"/>
                    <a:gd name="connsiteX22" fmla="*/ 977900 w 3784600"/>
                    <a:gd name="connsiteY22" fmla="*/ 47625 h 473871"/>
                    <a:gd name="connsiteX23" fmla="*/ 1041400 w 3784600"/>
                    <a:gd name="connsiteY23" fmla="*/ 38100 h 473871"/>
                    <a:gd name="connsiteX24" fmla="*/ 1089025 w 3784600"/>
                    <a:gd name="connsiteY24" fmla="*/ 44450 h 473871"/>
                    <a:gd name="connsiteX25" fmla="*/ 1219200 w 3784600"/>
                    <a:gd name="connsiteY25" fmla="*/ 34925 h 473871"/>
                    <a:gd name="connsiteX26" fmla="*/ 1282700 w 3784600"/>
                    <a:gd name="connsiteY26" fmla="*/ 25400 h 473871"/>
                    <a:gd name="connsiteX27" fmla="*/ 1320800 w 3784600"/>
                    <a:gd name="connsiteY27" fmla="*/ 63500 h 473871"/>
                    <a:gd name="connsiteX28" fmla="*/ 1349375 w 3784600"/>
                    <a:gd name="connsiteY28" fmla="*/ 60325 h 473871"/>
                    <a:gd name="connsiteX29" fmla="*/ 1390650 w 3784600"/>
                    <a:gd name="connsiteY29" fmla="*/ 85725 h 473871"/>
                    <a:gd name="connsiteX30" fmla="*/ 1485900 w 3784600"/>
                    <a:gd name="connsiteY30" fmla="*/ 79375 h 473871"/>
                    <a:gd name="connsiteX31" fmla="*/ 1527175 w 3784600"/>
                    <a:gd name="connsiteY31" fmla="*/ 101600 h 473871"/>
                    <a:gd name="connsiteX32" fmla="*/ 1581150 w 3784600"/>
                    <a:gd name="connsiteY32" fmla="*/ 98425 h 473871"/>
                    <a:gd name="connsiteX33" fmla="*/ 1609725 w 3784600"/>
                    <a:gd name="connsiteY33" fmla="*/ 130175 h 473871"/>
                    <a:gd name="connsiteX34" fmla="*/ 1708150 w 3784600"/>
                    <a:gd name="connsiteY34" fmla="*/ 130175 h 473871"/>
                    <a:gd name="connsiteX35" fmla="*/ 1708150 w 3784600"/>
                    <a:gd name="connsiteY35" fmla="*/ 130175 h 473871"/>
                    <a:gd name="connsiteX36" fmla="*/ 1781175 w 3784600"/>
                    <a:gd name="connsiteY36" fmla="*/ 111125 h 473871"/>
                    <a:gd name="connsiteX37" fmla="*/ 1800225 w 3784600"/>
                    <a:gd name="connsiteY37" fmla="*/ 123825 h 473871"/>
                    <a:gd name="connsiteX38" fmla="*/ 1943100 w 3784600"/>
                    <a:gd name="connsiteY38" fmla="*/ 120650 h 473871"/>
                    <a:gd name="connsiteX39" fmla="*/ 2041525 w 3784600"/>
                    <a:gd name="connsiteY39" fmla="*/ 12700 h 473871"/>
                    <a:gd name="connsiteX40" fmla="*/ 2079625 w 3784600"/>
                    <a:gd name="connsiteY40" fmla="*/ 0 h 473871"/>
                    <a:gd name="connsiteX41" fmla="*/ 2152650 w 3784600"/>
                    <a:gd name="connsiteY41" fmla="*/ 0 h 473871"/>
                    <a:gd name="connsiteX42" fmla="*/ 2197100 w 3784600"/>
                    <a:gd name="connsiteY42" fmla="*/ 28575 h 473871"/>
                    <a:gd name="connsiteX43" fmla="*/ 2247900 w 3784600"/>
                    <a:gd name="connsiteY43" fmla="*/ 38100 h 473871"/>
                    <a:gd name="connsiteX44" fmla="*/ 2301875 w 3784600"/>
                    <a:gd name="connsiteY44" fmla="*/ 47625 h 473871"/>
                    <a:gd name="connsiteX45" fmla="*/ 2317750 w 3784600"/>
                    <a:gd name="connsiteY45" fmla="*/ 69850 h 473871"/>
                    <a:gd name="connsiteX46" fmla="*/ 2390775 w 3784600"/>
                    <a:gd name="connsiteY46" fmla="*/ 63500 h 473871"/>
                    <a:gd name="connsiteX47" fmla="*/ 2454275 w 3784600"/>
                    <a:gd name="connsiteY47" fmla="*/ 85725 h 473871"/>
                    <a:gd name="connsiteX48" fmla="*/ 2489200 w 3784600"/>
                    <a:gd name="connsiteY48" fmla="*/ 79375 h 473871"/>
                    <a:gd name="connsiteX49" fmla="*/ 2559050 w 3784600"/>
                    <a:gd name="connsiteY49" fmla="*/ 107950 h 473871"/>
                    <a:gd name="connsiteX50" fmla="*/ 2590800 w 3784600"/>
                    <a:gd name="connsiteY50" fmla="*/ 123825 h 473871"/>
                    <a:gd name="connsiteX51" fmla="*/ 2657475 w 3784600"/>
                    <a:gd name="connsiteY51" fmla="*/ 133350 h 473871"/>
                    <a:gd name="connsiteX52" fmla="*/ 2765425 w 3784600"/>
                    <a:gd name="connsiteY52" fmla="*/ 161925 h 473871"/>
                    <a:gd name="connsiteX53" fmla="*/ 2806700 w 3784600"/>
                    <a:gd name="connsiteY53" fmla="*/ 133350 h 473871"/>
                    <a:gd name="connsiteX54" fmla="*/ 2889250 w 3784600"/>
                    <a:gd name="connsiteY54" fmla="*/ 130175 h 473871"/>
                    <a:gd name="connsiteX55" fmla="*/ 3032125 w 3784600"/>
                    <a:gd name="connsiteY55" fmla="*/ 98425 h 473871"/>
                    <a:gd name="connsiteX56" fmla="*/ 3086100 w 3784600"/>
                    <a:gd name="connsiteY56" fmla="*/ 101600 h 473871"/>
                    <a:gd name="connsiteX57" fmla="*/ 3121025 w 3784600"/>
                    <a:gd name="connsiteY57" fmla="*/ 47625 h 473871"/>
                    <a:gd name="connsiteX58" fmla="*/ 3162300 w 3784600"/>
                    <a:gd name="connsiteY58" fmla="*/ 31750 h 473871"/>
                    <a:gd name="connsiteX59" fmla="*/ 3209925 w 3784600"/>
                    <a:gd name="connsiteY59" fmla="*/ 31750 h 473871"/>
                    <a:gd name="connsiteX60" fmla="*/ 3257550 w 3784600"/>
                    <a:gd name="connsiteY60" fmla="*/ 73025 h 473871"/>
                    <a:gd name="connsiteX61" fmla="*/ 3286125 w 3784600"/>
                    <a:gd name="connsiteY61" fmla="*/ 98425 h 473871"/>
                    <a:gd name="connsiteX62" fmla="*/ 3343275 w 3784600"/>
                    <a:gd name="connsiteY62" fmla="*/ 19050 h 473871"/>
                    <a:gd name="connsiteX63" fmla="*/ 3365500 w 3784600"/>
                    <a:gd name="connsiteY63" fmla="*/ 34925 h 473871"/>
                    <a:gd name="connsiteX64" fmla="*/ 3403600 w 3784600"/>
                    <a:gd name="connsiteY64" fmla="*/ 60325 h 473871"/>
                    <a:gd name="connsiteX65" fmla="*/ 3470275 w 3784600"/>
                    <a:gd name="connsiteY65" fmla="*/ 63500 h 473871"/>
                    <a:gd name="connsiteX66" fmla="*/ 3533775 w 3784600"/>
                    <a:gd name="connsiteY66" fmla="*/ 50800 h 473871"/>
                    <a:gd name="connsiteX67" fmla="*/ 3533775 w 3784600"/>
                    <a:gd name="connsiteY67" fmla="*/ 50800 h 473871"/>
                    <a:gd name="connsiteX68" fmla="*/ 3600450 w 3784600"/>
                    <a:gd name="connsiteY68" fmla="*/ 60325 h 473871"/>
                    <a:gd name="connsiteX69" fmla="*/ 3648075 w 3784600"/>
                    <a:gd name="connsiteY69" fmla="*/ 50800 h 473871"/>
                    <a:gd name="connsiteX70" fmla="*/ 3683000 w 3784600"/>
                    <a:gd name="connsiteY70" fmla="*/ 34925 h 473871"/>
                    <a:gd name="connsiteX71" fmla="*/ 3683000 w 3784600"/>
                    <a:gd name="connsiteY71" fmla="*/ 31750 h 473871"/>
                    <a:gd name="connsiteX72" fmla="*/ 3698875 w 3784600"/>
                    <a:gd name="connsiteY72" fmla="*/ 31750 h 473871"/>
                    <a:gd name="connsiteX73" fmla="*/ 3756025 w 3784600"/>
                    <a:gd name="connsiteY73" fmla="*/ 31750 h 473871"/>
                    <a:gd name="connsiteX74" fmla="*/ 3768725 w 3784600"/>
                    <a:gd name="connsiteY74" fmla="*/ 31750 h 473871"/>
                    <a:gd name="connsiteX75" fmla="*/ 3784600 w 3784600"/>
                    <a:gd name="connsiteY75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98450 w 3784600"/>
                    <a:gd name="connsiteY5" fmla="*/ 158750 h 473871"/>
                    <a:gd name="connsiteX6" fmla="*/ 333375 w 3784600"/>
                    <a:gd name="connsiteY6" fmla="*/ 127000 h 473871"/>
                    <a:gd name="connsiteX7" fmla="*/ 381000 w 3784600"/>
                    <a:gd name="connsiteY7" fmla="*/ 127000 h 473871"/>
                    <a:gd name="connsiteX8" fmla="*/ 434975 w 3784600"/>
                    <a:gd name="connsiteY8" fmla="*/ 130175 h 473871"/>
                    <a:gd name="connsiteX9" fmla="*/ 460375 w 3784600"/>
                    <a:gd name="connsiteY9" fmla="*/ 149225 h 473871"/>
                    <a:gd name="connsiteX10" fmla="*/ 488950 w 3784600"/>
                    <a:gd name="connsiteY10" fmla="*/ 142875 h 473871"/>
                    <a:gd name="connsiteX11" fmla="*/ 555625 w 3784600"/>
                    <a:gd name="connsiteY11" fmla="*/ 146050 h 473871"/>
                    <a:gd name="connsiteX12" fmla="*/ 581025 w 3784600"/>
                    <a:gd name="connsiteY12" fmla="*/ 158750 h 473871"/>
                    <a:gd name="connsiteX13" fmla="*/ 628650 w 3784600"/>
                    <a:gd name="connsiteY13" fmla="*/ 165100 h 473871"/>
                    <a:gd name="connsiteX14" fmla="*/ 647700 w 3784600"/>
                    <a:gd name="connsiteY14" fmla="*/ 168275 h 473871"/>
                    <a:gd name="connsiteX15" fmla="*/ 708025 w 3784600"/>
                    <a:gd name="connsiteY15" fmla="*/ 177800 h 473871"/>
                    <a:gd name="connsiteX16" fmla="*/ 733425 w 3784600"/>
                    <a:gd name="connsiteY16" fmla="*/ 184150 h 473871"/>
                    <a:gd name="connsiteX17" fmla="*/ 771525 w 3784600"/>
                    <a:gd name="connsiteY17" fmla="*/ 130175 h 473871"/>
                    <a:gd name="connsiteX18" fmla="*/ 787400 w 3784600"/>
                    <a:gd name="connsiteY18" fmla="*/ 114300 h 473871"/>
                    <a:gd name="connsiteX19" fmla="*/ 790575 w 3784600"/>
                    <a:gd name="connsiteY19" fmla="*/ 82550 h 473871"/>
                    <a:gd name="connsiteX20" fmla="*/ 822325 w 3784600"/>
                    <a:gd name="connsiteY20" fmla="*/ 69850 h 473871"/>
                    <a:gd name="connsiteX21" fmla="*/ 876300 w 3784600"/>
                    <a:gd name="connsiteY21" fmla="*/ 60325 h 473871"/>
                    <a:gd name="connsiteX22" fmla="*/ 936625 w 3784600"/>
                    <a:gd name="connsiteY22" fmla="*/ 60325 h 473871"/>
                    <a:gd name="connsiteX23" fmla="*/ 977900 w 3784600"/>
                    <a:gd name="connsiteY23" fmla="*/ 47625 h 473871"/>
                    <a:gd name="connsiteX24" fmla="*/ 1041400 w 3784600"/>
                    <a:gd name="connsiteY24" fmla="*/ 38100 h 473871"/>
                    <a:gd name="connsiteX25" fmla="*/ 1089025 w 3784600"/>
                    <a:gd name="connsiteY25" fmla="*/ 44450 h 473871"/>
                    <a:gd name="connsiteX26" fmla="*/ 1219200 w 3784600"/>
                    <a:gd name="connsiteY26" fmla="*/ 34925 h 473871"/>
                    <a:gd name="connsiteX27" fmla="*/ 1282700 w 3784600"/>
                    <a:gd name="connsiteY27" fmla="*/ 25400 h 473871"/>
                    <a:gd name="connsiteX28" fmla="*/ 1320800 w 3784600"/>
                    <a:gd name="connsiteY28" fmla="*/ 63500 h 473871"/>
                    <a:gd name="connsiteX29" fmla="*/ 1349375 w 3784600"/>
                    <a:gd name="connsiteY29" fmla="*/ 60325 h 473871"/>
                    <a:gd name="connsiteX30" fmla="*/ 1390650 w 3784600"/>
                    <a:gd name="connsiteY30" fmla="*/ 85725 h 473871"/>
                    <a:gd name="connsiteX31" fmla="*/ 1485900 w 3784600"/>
                    <a:gd name="connsiteY31" fmla="*/ 79375 h 473871"/>
                    <a:gd name="connsiteX32" fmla="*/ 1527175 w 3784600"/>
                    <a:gd name="connsiteY32" fmla="*/ 101600 h 473871"/>
                    <a:gd name="connsiteX33" fmla="*/ 1581150 w 3784600"/>
                    <a:gd name="connsiteY33" fmla="*/ 98425 h 473871"/>
                    <a:gd name="connsiteX34" fmla="*/ 1609725 w 3784600"/>
                    <a:gd name="connsiteY34" fmla="*/ 130175 h 473871"/>
                    <a:gd name="connsiteX35" fmla="*/ 1708150 w 3784600"/>
                    <a:gd name="connsiteY35" fmla="*/ 130175 h 473871"/>
                    <a:gd name="connsiteX36" fmla="*/ 1708150 w 3784600"/>
                    <a:gd name="connsiteY36" fmla="*/ 130175 h 473871"/>
                    <a:gd name="connsiteX37" fmla="*/ 1781175 w 3784600"/>
                    <a:gd name="connsiteY37" fmla="*/ 111125 h 473871"/>
                    <a:gd name="connsiteX38" fmla="*/ 1800225 w 3784600"/>
                    <a:gd name="connsiteY38" fmla="*/ 123825 h 473871"/>
                    <a:gd name="connsiteX39" fmla="*/ 1943100 w 3784600"/>
                    <a:gd name="connsiteY39" fmla="*/ 120650 h 473871"/>
                    <a:gd name="connsiteX40" fmla="*/ 2041525 w 3784600"/>
                    <a:gd name="connsiteY40" fmla="*/ 12700 h 473871"/>
                    <a:gd name="connsiteX41" fmla="*/ 2079625 w 3784600"/>
                    <a:gd name="connsiteY41" fmla="*/ 0 h 473871"/>
                    <a:gd name="connsiteX42" fmla="*/ 2152650 w 3784600"/>
                    <a:gd name="connsiteY42" fmla="*/ 0 h 473871"/>
                    <a:gd name="connsiteX43" fmla="*/ 2197100 w 3784600"/>
                    <a:gd name="connsiteY43" fmla="*/ 28575 h 473871"/>
                    <a:gd name="connsiteX44" fmla="*/ 2247900 w 3784600"/>
                    <a:gd name="connsiteY44" fmla="*/ 38100 h 473871"/>
                    <a:gd name="connsiteX45" fmla="*/ 2301875 w 3784600"/>
                    <a:gd name="connsiteY45" fmla="*/ 47625 h 473871"/>
                    <a:gd name="connsiteX46" fmla="*/ 2317750 w 3784600"/>
                    <a:gd name="connsiteY46" fmla="*/ 69850 h 473871"/>
                    <a:gd name="connsiteX47" fmla="*/ 2390775 w 3784600"/>
                    <a:gd name="connsiteY47" fmla="*/ 63500 h 473871"/>
                    <a:gd name="connsiteX48" fmla="*/ 2454275 w 3784600"/>
                    <a:gd name="connsiteY48" fmla="*/ 85725 h 473871"/>
                    <a:gd name="connsiteX49" fmla="*/ 2489200 w 3784600"/>
                    <a:gd name="connsiteY49" fmla="*/ 79375 h 473871"/>
                    <a:gd name="connsiteX50" fmla="*/ 2559050 w 3784600"/>
                    <a:gd name="connsiteY50" fmla="*/ 107950 h 473871"/>
                    <a:gd name="connsiteX51" fmla="*/ 2590800 w 3784600"/>
                    <a:gd name="connsiteY51" fmla="*/ 123825 h 473871"/>
                    <a:gd name="connsiteX52" fmla="*/ 2657475 w 3784600"/>
                    <a:gd name="connsiteY52" fmla="*/ 133350 h 473871"/>
                    <a:gd name="connsiteX53" fmla="*/ 2765425 w 3784600"/>
                    <a:gd name="connsiteY53" fmla="*/ 161925 h 473871"/>
                    <a:gd name="connsiteX54" fmla="*/ 2806700 w 3784600"/>
                    <a:gd name="connsiteY54" fmla="*/ 133350 h 473871"/>
                    <a:gd name="connsiteX55" fmla="*/ 2889250 w 3784600"/>
                    <a:gd name="connsiteY55" fmla="*/ 130175 h 473871"/>
                    <a:gd name="connsiteX56" fmla="*/ 3032125 w 3784600"/>
                    <a:gd name="connsiteY56" fmla="*/ 98425 h 473871"/>
                    <a:gd name="connsiteX57" fmla="*/ 3086100 w 3784600"/>
                    <a:gd name="connsiteY57" fmla="*/ 101600 h 473871"/>
                    <a:gd name="connsiteX58" fmla="*/ 3121025 w 3784600"/>
                    <a:gd name="connsiteY58" fmla="*/ 47625 h 473871"/>
                    <a:gd name="connsiteX59" fmla="*/ 3162300 w 3784600"/>
                    <a:gd name="connsiteY59" fmla="*/ 31750 h 473871"/>
                    <a:gd name="connsiteX60" fmla="*/ 3209925 w 3784600"/>
                    <a:gd name="connsiteY60" fmla="*/ 31750 h 473871"/>
                    <a:gd name="connsiteX61" fmla="*/ 3257550 w 3784600"/>
                    <a:gd name="connsiteY61" fmla="*/ 73025 h 473871"/>
                    <a:gd name="connsiteX62" fmla="*/ 3286125 w 3784600"/>
                    <a:gd name="connsiteY62" fmla="*/ 98425 h 473871"/>
                    <a:gd name="connsiteX63" fmla="*/ 3343275 w 3784600"/>
                    <a:gd name="connsiteY63" fmla="*/ 19050 h 473871"/>
                    <a:gd name="connsiteX64" fmla="*/ 3365500 w 3784600"/>
                    <a:gd name="connsiteY64" fmla="*/ 34925 h 473871"/>
                    <a:gd name="connsiteX65" fmla="*/ 3403600 w 3784600"/>
                    <a:gd name="connsiteY65" fmla="*/ 60325 h 473871"/>
                    <a:gd name="connsiteX66" fmla="*/ 3470275 w 3784600"/>
                    <a:gd name="connsiteY66" fmla="*/ 63500 h 473871"/>
                    <a:gd name="connsiteX67" fmla="*/ 3533775 w 3784600"/>
                    <a:gd name="connsiteY67" fmla="*/ 50800 h 473871"/>
                    <a:gd name="connsiteX68" fmla="*/ 3533775 w 3784600"/>
                    <a:gd name="connsiteY68" fmla="*/ 50800 h 473871"/>
                    <a:gd name="connsiteX69" fmla="*/ 3600450 w 3784600"/>
                    <a:gd name="connsiteY69" fmla="*/ 60325 h 473871"/>
                    <a:gd name="connsiteX70" fmla="*/ 3648075 w 3784600"/>
                    <a:gd name="connsiteY70" fmla="*/ 50800 h 473871"/>
                    <a:gd name="connsiteX71" fmla="*/ 3683000 w 3784600"/>
                    <a:gd name="connsiteY71" fmla="*/ 34925 h 473871"/>
                    <a:gd name="connsiteX72" fmla="*/ 3683000 w 3784600"/>
                    <a:gd name="connsiteY72" fmla="*/ 31750 h 473871"/>
                    <a:gd name="connsiteX73" fmla="*/ 3698875 w 3784600"/>
                    <a:gd name="connsiteY73" fmla="*/ 31750 h 473871"/>
                    <a:gd name="connsiteX74" fmla="*/ 3756025 w 3784600"/>
                    <a:gd name="connsiteY74" fmla="*/ 31750 h 473871"/>
                    <a:gd name="connsiteX75" fmla="*/ 3768725 w 3784600"/>
                    <a:gd name="connsiteY75" fmla="*/ 31750 h 473871"/>
                    <a:gd name="connsiteX76" fmla="*/ 3784600 w 3784600"/>
                    <a:gd name="connsiteY76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98450 w 3784600"/>
                    <a:gd name="connsiteY6" fmla="*/ 158750 h 473871"/>
                    <a:gd name="connsiteX7" fmla="*/ 333375 w 3784600"/>
                    <a:gd name="connsiteY7" fmla="*/ 127000 h 473871"/>
                    <a:gd name="connsiteX8" fmla="*/ 381000 w 3784600"/>
                    <a:gd name="connsiteY8" fmla="*/ 127000 h 473871"/>
                    <a:gd name="connsiteX9" fmla="*/ 434975 w 3784600"/>
                    <a:gd name="connsiteY9" fmla="*/ 130175 h 473871"/>
                    <a:gd name="connsiteX10" fmla="*/ 460375 w 3784600"/>
                    <a:gd name="connsiteY10" fmla="*/ 149225 h 473871"/>
                    <a:gd name="connsiteX11" fmla="*/ 488950 w 3784600"/>
                    <a:gd name="connsiteY11" fmla="*/ 142875 h 473871"/>
                    <a:gd name="connsiteX12" fmla="*/ 555625 w 3784600"/>
                    <a:gd name="connsiteY12" fmla="*/ 146050 h 473871"/>
                    <a:gd name="connsiteX13" fmla="*/ 581025 w 3784600"/>
                    <a:gd name="connsiteY13" fmla="*/ 158750 h 473871"/>
                    <a:gd name="connsiteX14" fmla="*/ 628650 w 3784600"/>
                    <a:gd name="connsiteY14" fmla="*/ 165100 h 473871"/>
                    <a:gd name="connsiteX15" fmla="*/ 647700 w 3784600"/>
                    <a:gd name="connsiteY15" fmla="*/ 168275 h 473871"/>
                    <a:gd name="connsiteX16" fmla="*/ 708025 w 3784600"/>
                    <a:gd name="connsiteY16" fmla="*/ 177800 h 473871"/>
                    <a:gd name="connsiteX17" fmla="*/ 733425 w 3784600"/>
                    <a:gd name="connsiteY17" fmla="*/ 184150 h 473871"/>
                    <a:gd name="connsiteX18" fmla="*/ 771525 w 3784600"/>
                    <a:gd name="connsiteY18" fmla="*/ 130175 h 473871"/>
                    <a:gd name="connsiteX19" fmla="*/ 787400 w 3784600"/>
                    <a:gd name="connsiteY19" fmla="*/ 114300 h 473871"/>
                    <a:gd name="connsiteX20" fmla="*/ 790575 w 3784600"/>
                    <a:gd name="connsiteY20" fmla="*/ 82550 h 473871"/>
                    <a:gd name="connsiteX21" fmla="*/ 822325 w 3784600"/>
                    <a:gd name="connsiteY21" fmla="*/ 69850 h 473871"/>
                    <a:gd name="connsiteX22" fmla="*/ 876300 w 3784600"/>
                    <a:gd name="connsiteY22" fmla="*/ 60325 h 473871"/>
                    <a:gd name="connsiteX23" fmla="*/ 936625 w 3784600"/>
                    <a:gd name="connsiteY23" fmla="*/ 60325 h 473871"/>
                    <a:gd name="connsiteX24" fmla="*/ 977900 w 3784600"/>
                    <a:gd name="connsiteY24" fmla="*/ 47625 h 473871"/>
                    <a:gd name="connsiteX25" fmla="*/ 1041400 w 3784600"/>
                    <a:gd name="connsiteY25" fmla="*/ 38100 h 473871"/>
                    <a:gd name="connsiteX26" fmla="*/ 1089025 w 3784600"/>
                    <a:gd name="connsiteY26" fmla="*/ 44450 h 473871"/>
                    <a:gd name="connsiteX27" fmla="*/ 1219200 w 3784600"/>
                    <a:gd name="connsiteY27" fmla="*/ 34925 h 473871"/>
                    <a:gd name="connsiteX28" fmla="*/ 1282700 w 3784600"/>
                    <a:gd name="connsiteY28" fmla="*/ 25400 h 473871"/>
                    <a:gd name="connsiteX29" fmla="*/ 1320800 w 3784600"/>
                    <a:gd name="connsiteY29" fmla="*/ 63500 h 473871"/>
                    <a:gd name="connsiteX30" fmla="*/ 1349375 w 3784600"/>
                    <a:gd name="connsiteY30" fmla="*/ 60325 h 473871"/>
                    <a:gd name="connsiteX31" fmla="*/ 1390650 w 3784600"/>
                    <a:gd name="connsiteY31" fmla="*/ 85725 h 473871"/>
                    <a:gd name="connsiteX32" fmla="*/ 1485900 w 3784600"/>
                    <a:gd name="connsiteY32" fmla="*/ 79375 h 473871"/>
                    <a:gd name="connsiteX33" fmla="*/ 1527175 w 3784600"/>
                    <a:gd name="connsiteY33" fmla="*/ 101600 h 473871"/>
                    <a:gd name="connsiteX34" fmla="*/ 1581150 w 3784600"/>
                    <a:gd name="connsiteY34" fmla="*/ 98425 h 473871"/>
                    <a:gd name="connsiteX35" fmla="*/ 1609725 w 3784600"/>
                    <a:gd name="connsiteY35" fmla="*/ 130175 h 473871"/>
                    <a:gd name="connsiteX36" fmla="*/ 1708150 w 3784600"/>
                    <a:gd name="connsiteY36" fmla="*/ 130175 h 473871"/>
                    <a:gd name="connsiteX37" fmla="*/ 1708150 w 3784600"/>
                    <a:gd name="connsiteY37" fmla="*/ 130175 h 473871"/>
                    <a:gd name="connsiteX38" fmla="*/ 1781175 w 3784600"/>
                    <a:gd name="connsiteY38" fmla="*/ 111125 h 473871"/>
                    <a:gd name="connsiteX39" fmla="*/ 1800225 w 3784600"/>
                    <a:gd name="connsiteY39" fmla="*/ 123825 h 473871"/>
                    <a:gd name="connsiteX40" fmla="*/ 1943100 w 3784600"/>
                    <a:gd name="connsiteY40" fmla="*/ 120650 h 473871"/>
                    <a:gd name="connsiteX41" fmla="*/ 2041525 w 3784600"/>
                    <a:gd name="connsiteY41" fmla="*/ 12700 h 473871"/>
                    <a:gd name="connsiteX42" fmla="*/ 2079625 w 3784600"/>
                    <a:gd name="connsiteY42" fmla="*/ 0 h 473871"/>
                    <a:gd name="connsiteX43" fmla="*/ 2152650 w 3784600"/>
                    <a:gd name="connsiteY43" fmla="*/ 0 h 473871"/>
                    <a:gd name="connsiteX44" fmla="*/ 2197100 w 3784600"/>
                    <a:gd name="connsiteY44" fmla="*/ 28575 h 473871"/>
                    <a:gd name="connsiteX45" fmla="*/ 2247900 w 3784600"/>
                    <a:gd name="connsiteY45" fmla="*/ 38100 h 473871"/>
                    <a:gd name="connsiteX46" fmla="*/ 2301875 w 3784600"/>
                    <a:gd name="connsiteY46" fmla="*/ 47625 h 473871"/>
                    <a:gd name="connsiteX47" fmla="*/ 2317750 w 3784600"/>
                    <a:gd name="connsiteY47" fmla="*/ 69850 h 473871"/>
                    <a:gd name="connsiteX48" fmla="*/ 2390775 w 3784600"/>
                    <a:gd name="connsiteY48" fmla="*/ 63500 h 473871"/>
                    <a:gd name="connsiteX49" fmla="*/ 2454275 w 3784600"/>
                    <a:gd name="connsiteY49" fmla="*/ 85725 h 473871"/>
                    <a:gd name="connsiteX50" fmla="*/ 2489200 w 3784600"/>
                    <a:gd name="connsiteY50" fmla="*/ 79375 h 473871"/>
                    <a:gd name="connsiteX51" fmla="*/ 2559050 w 3784600"/>
                    <a:gd name="connsiteY51" fmla="*/ 107950 h 473871"/>
                    <a:gd name="connsiteX52" fmla="*/ 2590800 w 3784600"/>
                    <a:gd name="connsiteY52" fmla="*/ 123825 h 473871"/>
                    <a:gd name="connsiteX53" fmla="*/ 2657475 w 3784600"/>
                    <a:gd name="connsiteY53" fmla="*/ 133350 h 473871"/>
                    <a:gd name="connsiteX54" fmla="*/ 2765425 w 3784600"/>
                    <a:gd name="connsiteY54" fmla="*/ 161925 h 473871"/>
                    <a:gd name="connsiteX55" fmla="*/ 2806700 w 3784600"/>
                    <a:gd name="connsiteY55" fmla="*/ 133350 h 473871"/>
                    <a:gd name="connsiteX56" fmla="*/ 2889250 w 3784600"/>
                    <a:gd name="connsiteY56" fmla="*/ 130175 h 473871"/>
                    <a:gd name="connsiteX57" fmla="*/ 3032125 w 3784600"/>
                    <a:gd name="connsiteY57" fmla="*/ 98425 h 473871"/>
                    <a:gd name="connsiteX58" fmla="*/ 3086100 w 3784600"/>
                    <a:gd name="connsiteY58" fmla="*/ 101600 h 473871"/>
                    <a:gd name="connsiteX59" fmla="*/ 3121025 w 3784600"/>
                    <a:gd name="connsiteY59" fmla="*/ 47625 h 473871"/>
                    <a:gd name="connsiteX60" fmla="*/ 3162300 w 3784600"/>
                    <a:gd name="connsiteY60" fmla="*/ 31750 h 473871"/>
                    <a:gd name="connsiteX61" fmla="*/ 3209925 w 3784600"/>
                    <a:gd name="connsiteY61" fmla="*/ 31750 h 473871"/>
                    <a:gd name="connsiteX62" fmla="*/ 3257550 w 3784600"/>
                    <a:gd name="connsiteY62" fmla="*/ 73025 h 473871"/>
                    <a:gd name="connsiteX63" fmla="*/ 3286125 w 3784600"/>
                    <a:gd name="connsiteY63" fmla="*/ 98425 h 473871"/>
                    <a:gd name="connsiteX64" fmla="*/ 3343275 w 3784600"/>
                    <a:gd name="connsiteY64" fmla="*/ 19050 h 473871"/>
                    <a:gd name="connsiteX65" fmla="*/ 3365500 w 3784600"/>
                    <a:gd name="connsiteY65" fmla="*/ 34925 h 473871"/>
                    <a:gd name="connsiteX66" fmla="*/ 3403600 w 3784600"/>
                    <a:gd name="connsiteY66" fmla="*/ 60325 h 473871"/>
                    <a:gd name="connsiteX67" fmla="*/ 3470275 w 3784600"/>
                    <a:gd name="connsiteY67" fmla="*/ 63500 h 473871"/>
                    <a:gd name="connsiteX68" fmla="*/ 3533775 w 3784600"/>
                    <a:gd name="connsiteY68" fmla="*/ 50800 h 473871"/>
                    <a:gd name="connsiteX69" fmla="*/ 3533775 w 3784600"/>
                    <a:gd name="connsiteY69" fmla="*/ 50800 h 473871"/>
                    <a:gd name="connsiteX70" fmla="*/ 3600450 w 3784600"/>
                    <a:gd name="connsiteY70" fmla="*/ 60325 h 473871"/>
                    <a:gd name="connsiteX71" fmla="*/ 3648075 w 3784600"/>
                    <a:gd name="connsiteY71" fmla="*/ 50800 h 473871"/>
                    <a:gd name="connsiteX72" fmla="*/ 3683000 w 3784600"/>
                    <a:gd name="connsiteY72" fmla="*/ 34925 h 473871"/>
                    <a:gd name="connsiteX73" fmla="*/ 3683000 w 3784600"/>
                    <a:gd name="connsiteY73" fmla="*/ 31750 h 473871"/>
                    <a:gd name="connsiteX74" fmla="*/ 3698875 w 3784600"/>
                    <a:gd name="connsiteY74" fmla="*/ 31750 h 473871"/>
                    <a:gd name="connsiteX75" fmla="*/ 3756025 w 3784600"/>
                    <a:gd name="connsiteY75" fmla="*/ 31750 h 473871"/>
                    <a:gd name="connsiteX76" fmla="*/ 3768725 w 3784600"/>
                    <a:gd name="connsiteY76" fmla="*/ 31750 h 473871"/>
                    <a:gd name="connsiteX77" fmla="*/ 3784600 w 3784600"/>
                    <a:gd name="connsiteY77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8450 w 3784600"/>
                    <a:gd name="connsiteY7" fmla="*/ 158750 h 473871"/>
                    <a:gd name="connsiteX8" fmla="*/ 333375 w 3784600"/>
                    <a:gd name="connsiteY8" fmla="*/ 127000 h 473871"/>
                    <a:gd name="connsiteX9" fmla="*/ 381000 w 3784600"/>
                    <a:gd name="connsiteY9" fmla="*/ 127000 h 473871"/>
                    <a:gd name="connsiteX10" fmla="*/ 434975 w 3784600"/>
                    <a:gd name="connsiteY10" fmla="*/ 130175 h 473871"/>
                    <a:gd name="connsiteX11" fmla="*/ 460375 w 3784600"/>
                    <a:gd name="connsiteY11" fmla="*/ 149225 h 473871"/>
                    <a:gd name="connsiteX12" fmla="*/ 488950 w 3784600"/>
                    <a:gd name="connsiteY12" fmla="*/ 142875 h 473871"/>
                    <a:gd name="connsiteX13" fmla="*/ 555625 w 3784600"/>
                    <a:gd name="connsiteY13" fmla="*/ 146050 h 473871"/>
                    <a:gd name="connsiteX14" fmla="*/ 581025 w 3784600"/>
                    <a:gd name="connsiteY14" fmla="*/ 158750 h 473871"/>
                    <a:gd name="connsiteX15" fmla="*/ 628650 w 3784600"/>
                    <a:gd name="connsiteY15" fmla="*/ 165100 h 473871"/>
                    <a:gd name="connsiteX16" fmla="*/ 647700 w 3784600"/>
                    <a:gd name="connsiteY16" fmla="*/ 168275 h 473871"/>
                    <a:gd name="connsiteX17" fmla="*/ 708025 w 3784600"/>
                    <a:gd name="connsiteY17" fmla="*/ 177800 h 473871"/>
                    <a:gd name="connsiteX18" fmla="*/ 733425 w 3784600"/>
                    <a:gd name="connsiteY18" fmla="*/ 184150 h 473871"/>
                    <a:gd name="connsiteX19" fmla="*/ 771525 w 3784600"/>
                    <a:gd name="connsiteY19" fmla="*/ 130175 h 473871"/>
                    <a:gd name="connsiteX20" fmla="*/ 787400 w 3784600"/>
                    <a:gd name="connsiteY20" fmla="*/ 114300 h 473871"/>
                    <a:gd name="connsiteX21" fmla="*/ 790575 w 3784600"/>
                    <a:gd name="connsiteY21" fmla="*/ 82550 h 473871"/>
                    <a:gd name="connsiteX22" fmla="*/ 822325 w 3784600"/>
                    <a:gd name="connsiteY22" fmla="*/ 69850 h 473871"/>
                    <a:gd name="connsiteX23" fmla="*/ 876300 w 3784600"/>
                    <a:gd name="connsiteY23" fmla="*/ 60325 h 473871"/>
                    <a:gd name="connsiteX24" fmla="*/ 936625 w 3784600"/>
                    <a:gd name="connsiteY24" fmla="*/ 60325 h 473871"/>
                    <a:gd name="connsiteX25" fmla="*/ 977900 w 3784600"/>
                    <a:gd name="connsiteY25" fmla="*/ 47625 h 473871"/>
                    <a:gd name="connsiteX26" fmla="*/ 1041400 w 3784600"/>
                    <a:gd name="connsiteY26" fmla="*/ 38100 h 473871"/>
                    <a:gd name="connsiteX27" fmla="*/ 1089025 w 3784600"/>
                    <a:gd name="connsiteY27" fmla="*/ 44450 h 473871"/>
                    <a:gd name="connsiteX28" fmla="*/ 1219200 w 3784600"/>
                    <a:gd name="connsiteY28" fmla="*/ 34925 h 473871"/>
                    <a:gd name="connsiteX29" fmla="*/ 1282700 w 3784600"/>
                    <a:gd name="connsiteY29" fmla="*/ 25400 h 473871"/>
                    <a:gd name="connsiteX30" fmla="*/ 1320800 w 3784600"/>
                    <a:gd name="connsiteY30" fmla="*/ 63500 h 473871"/>
                    <a:gd name="connsiteX31" fmla="*/ 1349375 w 3784600"/>
                    <a:gd name="connsiteY31" fmla="*/ 60325 h 473871"/>
                    <a:gd name="connsiteX32" fmla="*/ 1390650 w 3784600"/>
                    <a:gd name="connsiteY32" fmla="*/ 85725 h 473871"/>
                    <a:gd name="connsiteX33" fmla="*/ 1485900 w 3784600"/>
                    <a:gd name="connsiteY33" fmla="*/ 79375 h 473871"/>
                    <a:gd name="connsiteX34" fmla="*/ 1527175 w 3784600"/>
                    <a:gd name="connsiteY34" fmla="*/ 101600 h 473871"/>
                    <a:gd name="connsiteX35" fmla="*/ 1581150 w 3784600"/>
                    <a:gd name="connsiteY35" fmla="*/ 98425 h 473871"/>
                    <a:gd name="connsiteX36" fmla="*/ 1609725 w 3784600"/>
                    <a:gd name="connsiteY36" fmla="*/ 130175 h 473871"/>
                    <a:gd name="connsiteX37" fmla="*/ 1708150 w 3784600"/>
                    <a:gd name="connsiteY37" fmla="*/ 130175 h 473871"/>
                    <a:gd name="connsiteX38" fmla="*/ 1708150 w 3784600"/>
                    <a:gd name="connsiteY38" fmla="*/ 130175 h 473871"/>
                    <a:gd name="connsiteX39" fmla="*/ 1781175 w 3784600"/>
                    <a:gd name="connsiteY39" fmla="*/ 111125 h 473871"/>
                    <a:gd name="connsiteX40" fmla="*/ 1800225 w 3784600"/>
                    <a:gd name="connsiteY40" fmla="*/ 123825 h 473871"/>
                    <a:gd name="connsiteX41" fmla="*/ 1943100 w 3784600"/>
                    <a:gd name="connsiteY41" fmla="*/ 120650 h 473871"/>
                    <a:gd name="connsiteX42" fmla="*/ 2041525 w 3784600"/>
                    <a:gd name="connsiteY42" fmla="*/ 12700 h 473871"/>
                    <a:gd name="connsiteX43" fmla="*/ 2079625 w 3784600"/>
                    <a:gd name="connsiteY43" fmla="*/ 0 h 473871"/>
                    <a:gd name="connsiteX44" fmla="*/ 2152650 w 3784600"/>
                    <a:gd name="connsiteY44" fmla="*/ 0 h 473871"/>
                    <a:gd name="connsiteX45" fmla="*/ 2197100 w 3784600"/>
                    <a:gd name="connsiteY45" fmla="*/ 28575 h 473871"/>
                    <a:gd name="connsiteX46" fmla="*/ 2247900 w 3784600"/>
                    <a:gd name="connsiteY46" fmla="*/ 38100 h 473871"/>
                    <a:gd name="connsiteX47" fmla="*/ 2301875 w 3784600"/>
                    <a:gd name="connsiteY47" fmla="*/ 47625 h 473871"/>
                    <a:gd name="connsiteX48" fmla="*/ 2317750 w 3784600"/>
                    <a:gd name="connsiteY48" fmla="*/ 69850 h 473871"/>
                    <a:gd name="connsiteX49" fmla="*/ 2390775 w 3784600"/>
                    <a:gd name="connsiteY49" fmla="*/ 63500 h 473871"/>
                    <a:gd name="connsiteX50" fmla="*/ 2454275 w 3784600"/>
                    <a:gd name="connsiteY50" fmla="*/ 85725 h 473871"/>
                    <a:gd name="connsiteX51" fmla="*/ 2489200 w 3784600"/>
                    <a:gd name="connsiteY51" fmla="*/ 79375 h 473871"/>
                    <a:gd name="connsiteX52" fmla="*/ 2559050 w 3784600"/>
                    <a:gd name="connsiteY52" fmla="*/ 107950 h 473871"/>
                    <a:gd name="connsiteX53" fmla="*/ 2590800 w 3784600"/>
                    <a:gd name="connsiteY53" fmla="*/ 123825 h 473871"/>
                    <a:gd name="connsiteX54" fmla="*/ 2657475 w 3784600"/>
                    <a:gd name="connsiteY54" fmla="*/ 133350 h 473871"/>
                    <a:gd name="connsiteX55" fmla="*/ 2765425 w 3784600"/>
                    <a:gd name="connsiteY55" fmla="*/ 161925 h 473871"/>
                    <a:gd name="connsiteX56" fmla="*/ 2806700 w 3784600"/>
                    <a:gd name="connsiteY56" fmla="*/ 133350 h 473871"/>
                    <a:gd name="connsiteX57" fmla="*/ 2889250 w 3784600"/>
                    <a:gd name="connsiteY57" fmla="*/ 130175 h 473871"/>
                    <a:gd name="connsiteX58" fmla="*/ 3032125 w 3784600"/>
                    <a:gd name="connsiteY58" fmla="*/ 98425 h 473871"/>
                    <a:gd name="connsiteX59" fmla="*/ 3086100 w 3784600"/>
                    <a:gd name="connsiteY59" fmla="*/ 101600 h 473871"/>
                    <a:gd name="connsiteX60" fmla="*/ 3121025 w 3784600"/>
                    <a:gd name="connsiteY60" fmla="*/ 47625 h 473871"/>
                    <a:gd name="connsiteX61" fmla="*/ 3162300 w 3784600"/>
                    <a:gd name="connsiteY61" fmla="*/ 31750 h 473871"/>
                    <a:gd name="connsiteX62" fmla="*/ 3209925 w 3784600"/>
                    <a:gd name="connsiteY62" fmla="*/ 31750 h 473871"/>
                    <a:gd name="connsiteX63" fmla="*/ 3257550 w 3784600"/>
                    <a:gd name="connsiteY63" fmla="*/ 73025 h 473871"/>
                    <a:gd name="connsiteX64" fmla="*/ 3286125 w 3784600"/>
                    <a:gd name="connsiteY64" fmla="*/ 98425 h 473871"/>
                    <a:gd name="connsiteX65" fmla="*/ 3343275 w 3784600"/>
                    <a:gd name="connsiteY65" fmla="*/ 19050 h 473871"/>
                    <a:gd name="connsiteX66" fmla="*/ 3365500 w 3784600"/>
                    <a:gd name="connsiteY66" fmla="*/ 34925 h 473871"/>
                    <a:gd name="connsiteX67" fmla="*/ 3403600 w 3784600"/>
                    <a:gd name="connsiteY67" fmla="*/ 60325 h 473871"/>
                    <a:gd name="connsiteX68" fmla="*/ 3470275 w 3784600"/>
                    <a:gd name="connsiteY68" fmla="*/ 63500 h 473871"/>
                    <a:gd name="connsiteX69" fmla="*/ 3533775 w 3784600"/>
                    <a:gd name="connsiteY69" fmla="*/ 50800 h 473871"/>
                    <a:gd name="connsiteX70" fmla="*/ 3533775 w 3784600"/>
                    <a:gd name="connsiteY70" fmla="*/ 50800 h 473871"/>
                    <a:gd name="connsiteX71" fmla="*/ 3600450 w 3784600"/>
                    <a:gd name="connsiteY71" fmla="*/ 60325 h 473871"/>
                    <a:gd name="connsiteX72" fmla="*/ 3648075 w 3784600"/>
                    <a:gd name="connsiteY72" fmla="*/ 50800 h 473871"/>
                    <a:gd name="connsiteX73" fmla="*/ 3683000 w 3784600"/>
                    <a:gd name="connsiteY73" fmla="*/ 34925 h 473871"/>
                    <a:gd name="connsiteX74" fmla="*/ 3683000 w 3784600"/>
                    <a:gd name="connsiteY74" fmla="*/ 31750 h 473871"/>
                    <a:gd name="connsiteX75" fmla="*/ 3698875 w 3784600"/>
                    <a:gd name="connsiteY75" fmla="*/ 31750 h 473871"/>
                    <a:gd name="connsiteX76" fmla="*/ 3756025 w 3784600"/>
                    <a:gd name="connsiteY76" fmla="*/ 31750 h 473871"/>
                    <a:gd name="connsiteX77" fmla="*/ 3768725 w 3784600"/>
                    <a:gd name="connsiteY77" fmla="*/ 31750 h 473871"/>
                    <a:gd name="connsiteX78" fmla="*/ 3784600 w 3784600"/>
                    <a:gd name="connsiteY78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089025 w 3784600"/>
                    <a:gd name="connsiteY28" fmla="*/ 44450 h 473871"/>
                    <a:gd name="connsiteX29" fmla="*/ 1219200 w 3784600"/>
                    <a:gd name="connsiteY29" fmla="*/ 34925 h 473871"/>
                    <a:gd name="connsiteX30" fmla="*/ 1282700 w 3784600"/>
                    <a:gd name="connsiteY30" fmla="*/ 25400 h 473871"/>
                    <a:gd name="connsiteX31" fmla="*/ 1320800 w 3784600"/>
                    <a:gd name="connsiteY31" fmla="*/ 63500 h 473871"/>
                    <a:gd name="connsiteX32" fmla="*/ 1349375 w 3784600"/>
                    <a:gd name="connsiteY32" fmla="*/ 60325 h 473871"/>
                    <a:gd name="connsiteX33" fmla="*/ 1390650 w 3784600"/>
                    <a:gd name="connsiteY33" fmla="*/ 85725 h 473871"/>
                    <a:gd name="connsiteX34" fmla="*/ 1485900 w 3784600"/>
                    <a:gd name="connsiteY34" fmla="*/ 79375 h 473871"/>
                    <a:gd name="connsiteX35" fmla="*/ 1527175 w 3784600"/>
                    <a:gd name="connsiteY35" fmla="*/ 101600 h 473871"/>
                    <a:gd name="connsiteX36" fmla="*/ 1581150 w 3784600"/>
                    <a:gd name="connsiteY36" fmla="*/ 98425 h 473871"/>
                    <a:gd name="connsiteX37" fmla="*/ 1609725 w 3784600"/>
                    <a:gd name="connsiteY37" fmla="*/ 130175 h 473871"/>
                    <a:gd name="connsiteX38" fmla="*/ 1708150 w 3784600"/>
                    <a:gd name="connsiteY38" fmla="*/ 130175 h 473871"/>
                    <a:gd name="connsiteX39" fmla="*/ 1708150 w 3784600"/>
                    <a:gd name="connsiteY39" fmla="*/ 130175 h 473871"/>
                    <a:gd name="connsiteX40" fmla="*/ 1781175 w 3784600"/>
                    <a:gd name="connsiteY40" fmla="*/ 111125 h 473871"/>
                    <a:gd name="connsiteX41" fmla="*/ 1800225 w 3784600"/>
                    <a:gd name="connsiteY41" fmla="*/ 123825 h 473871"/>
                    <a:gd name="connsiteX42" fmla="*/ 1943100 w 3784600"/>
                    <a:gd name="connsiteY42" fmla="*/ 120650 h 473871"/>
                    <a:gd name="connsiteX43" fmla="*/ 2041525 w 3784600"/>
                    <a:gd name="connsiteY43" fmla="*/ 12700 h 473871"/>
                    <a:gd name="connsiteX44" fmla="*/ 2079625 w 3784600"/>
                    <a:gd name="connsiteY44" fmla="*/ 0 h 473871"/>
                    <a:gd name="connsiteX45" fmla="*/ 2152650 w 3784600"/>
                    <a:gd name="connsiteY45" fmla="*/ 0 h 473871"/>
                    <a:gd name="connsiteX46" fmla="*/ 2197100 w 3784600"/>
                    <a:gd name="connsiteY46" fmla="*/ 28575 h 473871"/>
                    <a:gd name="connsiteX47" fmla="*/ 2247900 w 3784600"/>
                    <a:gd name="connsiteY47" fmla="*/ 38100 h 473871"/>
                    <a:gd name="connsiteX48" fmla="*/ 2301875 w 3784600"/>
                    <a:gd name="connsiteY48" fmla="*/ 47625 h 473871"/>
                    <a:gd name="connsiteX49" fmla="*/ 2317750 w 3784600"/>
                    <a:gd name="connsiteY49" fmla="*/ 69850 h 473871"/>
                    <a:gd name="connsiteX50" fmla="*/ 2390775 w 3784600"/>
                    <a:gd name="connsiteY50" fmla="*/ 63500 h 473871"/>
                    <a:gd name="connsiteX51" fmla="*/ 2454275 w 3784600"/>
                    <a:gd name="connsiteY51" fmla="*/ 85725 h 473871"/>
                    <a:gd name="connsiteX52" fmla="*/ 2489200 w 3784600"/>
                    <a:gd name="connsiteY52" fmla="*/ 79375 h 473871"/>
                    <a:gd name="connsiteX53" fmla="*/ 2559050 w 3784600"/>
                    <a:gd name="connsiteY53" fmla="*/ 107950 h 473871"/>
                    <a:gd name="connsiteX54" fmla="*/ 2590800 w 3784600"/>
                    <a:gd name="connsiteY54" fmla="*/ 123825 h 473871"/>
                    <a:gd name="connsiteX55" fmla="*/ 2657475 w 3784600"/>
                    <a:gd name="connsiteY55" fmla="*/ 133350 h 473871"/>
                    <a:gd name="connsiteX56" fmla="*/ 2765425 w 3784600"/>
                    <a:gd name="connsiteY56" fmla="*/ 161925 h 473871"/>
                    <a:gd name="connsiteX57" fmla="*/ 2806700 w 3784600"/>
                    <a:gd name="connsiteY57" fmla="*/ 133350 h 473871"/>
                    <a:gd name="connsiteX58" fmla="*/ 2889250 w 3784600"/>
                    <a:gd name="connsiteY58" fmla="*/ 130175 h 473871"/>
                    <a:gd name="connsiteX59" fmla="*/ 3032125 w 3784600"/>
                    <a:gd name="connsiteY59" fmla="*/ 98425 h 473871"/>
                    <a:gd name="connsiteX60" fmla="*/ 3086100 w 3784600"/>
                    <a:gd name="connsiteY60" fmla="*/ 101600 h 473871"/>
                    <a:gd name="connsiteX61" fmla="*/ 3121025 w 3784600"/>
                    <a:gd name="connsiteY61" fmla="*/ 47625 h 473871"/>
                    <a:gd name="connsiteX62" fmla="*/ 3162300 w 3784600"/>
                    <a:gd name="connsiteY62" fmla="*/ 31750 h 473871"/>
                    <a:gd name="connsiteX63" fmla="*/ 3209925 w 3784600"/>
                    <a:gd name="connsiteY63" fmla="*/ 31750 h 473871"/>
                    <a:gd name="connsiteX64" fmla="*/ 3257550 w 3784600"/>
                    <a:gd name="connsiteY64" fmla="*/ 73025 h 473871"/>
                    <a:gd name="connsiteX65" fmla="*/ 3286125 w 3784600"/>
                    <a:gd name="connsiteY65" fmla="*/ 98425 h 473871"/>
                    <a:gd name="connsiteX66" fmla="*/ 3343275 w 3784600"/>
                    <a:gd name="connsiteY66" fmla="*/ 19050 h 473871"/>
                    <a:gd name="connsiteX67" fmla="*/ 3365500 w 3784600"/>
                    <a:gd name="connsiteY67" fmla="*/ 34925 h 473871"/>
                    <a:gd name="connsiteX68" fmla="*/ 3403600 w 3784600"/>
                    <a:gd name="connsiteY68" fmla="*/ 60325 h 473871"/>
                    <a:gd name="connsiteX69" fmla="*/ 3470275 w 3784600"/>
                    <a:gd name="connsiteY69" fmla="*/ 63500 h 473871"/>
                    <a:gd name="connsiteX70" fmla="*/ 3533775 w 3784600"/>
                    <a:gd name="connsiteY70" fmla="*/ 50800 h 473871"/>
                    <a:gd name="connsiteX71" fmla="*/ 3533775 w 3784600"/>
                    <a:gd name="connsiteY71" fmla="*/ 50800 h 473871"/>
                    <a:gd name="connsiteX72" fmla="*/ 3600450 w 3784600"/>
                    <a:gd name="connsiteY72" fmla="*/ 60325 h 473871"/>
                    <a:gd name="connsiteX73" fmla="*/ 3648075 w 3784600"/>
                    <a:gd name="connsiteY73" fmla="*/ 50800 h 473871"/>
                    <a:gd name="connsiteX74" fmla="*/ 3683000 w 3784600"/>
                    <a:gd name="connsiteY74" fmla="*/ 34925 h 473871"/>
                    <a:gd name="connsiteX75" fmla="*/ 3683000 w 3784600"/>
                    <a:gd name="connsiteY75" fmla="*/ 31750 h 473871"/>
                    <a:gd name="connsiteX76" fmla="*/ 3698875 w 3784600"/>
                    <a:gd name="connsiteY76" fmla="*/ 31750 h 473871"/>
                    <a:gd name="connsiteX77" fmla="*/ 3756025 w 3784600"/>
                    <a:gd name="connsiteY77" fmla="*/ 31750 h 473871"/>
                    <a:gd name="connsiteX78" fmla="*/ 3768725 w 3784600"/>
                    <a:gd name="connsiteY78" fmla="*/ 31750 h 473871"/>
                    <a:gd name="connsiteX79" fmla="*/ 3784600 w 3784600"/>
                    <a:gd name="connsiteY79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089025 w 3784600"/>
                    <a:gd name="connsiteY28" fmla="*/ 44450 h 473871"/>
                    <a:gd name="connsiteX29" fmla="*/ 1219200 w 3784600"/>
                    <a:gd name="connsiteY29" fmla="*/ 34925 h 473871"/>
                    <a:gd name="connsiteX30" fmla="*/ 1282700 w 3784600"/>
                    <a:gd name="connsiteY30" fmla="*/ 25400 h 473871"/>
                    <a:gd name="connsiteX31" fmla="*/ 1320800 w 3784600"/>
                    <a:gd name="connsiteY31" fmla="*/ 63500 h 473871"/>
                    <a:gd name="connsiteX32" fmla="*/ 1349375 w 3784600"/>
                    <a:gd name="connsiteY32" fmla="*/ 60325 h 473871"/>
                    <a:gd name="connsiteX33" fmla="*/ 1390650 w 3784600"/>
                    <a:gd name="connsiteY33" fmla="*/ 85725 h 473871"/>
                    <a:gd name="connsiteX34" fmla="*/ 1485900 w 3784600"/>
                    <a:gd name="connsiteY34" fmla="*/ 79375 h 473871"/>
                    <a:gd name="connsiteX35" fmla="*/ 1527175 w 3784600"/>
                    <a:gd name="connsiteY35" fmla="*/ 101600 h 473871"/>
                    <a:gd name="connsiteX36" fmla="*/ 1581150 w 3784600"/>
                    <a:gd name="connsiteY36" fmla="*/ 98425 h 473871"/>
                    <a:gd name="connsiteX37" fmla="*/ 1609725 w 3784600"/>
                    <a:gd name="connsiteY37" fmla="*/ 130175 h 473871"/>
                    <a:gd name="connsiteX38" fmla="*/ 1708150 w 3784600"/>
                    <a:gd name="connsiteY38" fmla="*/ 130175 h 473871"/>
                    <a:gd name="connsiteX39" fmla="*/ 1781175 w 3784600"/>
                    <a:gd name="connsiteY39" fmla="*/ 111125 h 473871"/>
                    <a:gd name="connsiteX40" fmla="*/ 1800225 w 3784600"/>
                    <a:gd name="connsiteY40" fmla="*/ 123825 h 473871"/>
                    <a:gd name="connsiteX41" fmla="*/ 1943100 w 3784600"/>
                    <a:gd name="connsiteY41" fmla="*/ 120650 h 473871"/>
                    <a:gd name="connsiteX42" fmla="*/ 2041525 w 3784600"/>
                    <a:gd name="connsiteY42" fmla="*/ 12700 h 473871"/>
                    <a:gd name="connsiteX43" fmla="*/ 2079625 w 3784600"/>
                    <a:gd name="connsiteY43" fmla="*/ 0 h 473871"/>
                    <a:gd name="connsiteX44" fmla="*/ 2152650 w 3784600"/>
                    <a:gd name="connsiteY44" fmla="*/ 0 h 473871"/>
                    <a:gd name="connsiteX45" fmla="*/ 2197100 w 3784600"/>
                    <a:gd name="connsiteY45" fmla="*/ 28575 h 473871"/>
                    <a:gd name="connsiteX46" fmla="*/ 2247900 w 3784600"/>
                    <a:gd name="connsiteY46" fmla="*/ 38100 h 473871"/>
                    <a:gd name="connsiteX47" fmla="*/ 2301875 w 3784600"/>
                    <a:gd name="connsiteY47" fmla="*/ 47625 h 473871"/>
                    <a:gd name="connsiteX48" fmla="*/ 2317750 w 3784600"/>
                    <a:gd name="connsiteY48" fmla="*/ 69850 h 473871"/>
                    <a:gd name="connsiteX49" fmla="*/ 2390775 w 3784600"/>
                    <a:gd name="connsiteY49" fmla="*/ 63500 h 473871"/>
                    <a:gd name="connsiteX50" fmla="*/ 2454275 w 3784600"/>
                    <a:gd name="connsiteY50" fmla="*/ 85725 h 473871"/>
                    <a:gd name="connsiteX51" fmla="*/ 2489200 w 3784600"/>
                    <a:gd name="connsiteY51" fmla="*/ 79375 h 473871"/>
                    <a:gd name="connsiteX52" fmla="*/ 2559050 w 3784600"/>
                    <a:gd name="connsiteY52" fmla="*/ 107950 h 473871"/>
                    <a:gd name="connsiteX53" fmla="*/ 2590800 w 3784600"/>
                    <a:gd name="connsiteY53" fmla="*/ 123825 h 473871"/>
                    <a:gd name="connsiteX54" fmla="*/ 2657475 w 3784600"/>
                    <a:gd name="connsiteY54" fmla="*/ 133350 h 473871"/>
                    <a:gd name="connsiteX55" fmla="*/ 2765425 w 3784600"/>
                    <a:gd name="connsiteY55" fmla="*/ 161925 h 473871"/>
                    <a:gd name="connsiteX56" fmla="*/ 2806700 w 3784600"/>
                    <a:gd name="connsiteY56" fmla="*/ 133350 h 473871"/>
                    <a:gd name="connsiteX57" fmla="*/ 2889250 w 3784600"/>
                    <a:gd name="connsiteY57" fmla="*/ 130175 h 473871"/>
                    <a:gd name="connsiteX58" fmla="*/ 3032125 w 3784600"/>
                    <a:gd name="connsiteY58" fmla="*/ 98425 h 473871"/>
                    <a:gd name="connsiteX59" fmla="*/ 3086100 w 3784600"/>
                    <a:gd name="connsiteY59" fmla="*/ 101600 h 473871"/>
                    <a:gd name="connsiteX60" fmla="*/ 3121025 w 3784600"/>
                    <a:gd name="connsiteY60" fmla="*/ 47625 h 473871"/>
                    <a:gd name="connsiteX61" fmla="*/ 3162300 w 3784600"/>
                    <a:gd name="connsiteY61" fmla="*/ 31750 h 473871"/>
                    <a:gd name="connsiteX62" fmla="*/ 3209925 w 3784600"/>
                    <a:gd name="connsiteY62" fmla="*/ 31750 h 473871"/>
                    <a:gd name="connsiteX63" fmla="*/ 3257550 w 3784600"/>
                    <a:gd name="connsiteY63" fmla="*/ 73025 h 473871"/>
                    <a:gd name="connsiteX64" fmla="*/ 3286125 w 3784600"/>
                    <a:gd name="connsiteY64" fmla="*/ 98425 h 473871"/>
                    <a:gd name="connsiteX65" fmla="*/ 3343275 w 3784600"/>
                    <a:gd name="connsiteY65" fmla="*/ 19050 h 473871"/>
                    <a:gd name="connsiteX66" fmla="*/ 3365500 w 3784600"/>
                    <a:gd name="connsiteY66" fmla="*/ 34925 h 473871"/>
                    <a:gd name="connsiteX67" fmla="*/ 3403600 w 3784600"/>
                    <a:gd name="connsiteY67" fmla="*/ 60325 h 473871"/>
                    <a:gd name="connsiteX68" fmla="*/ 3470275 w 3784600"/>
                    <a:gd name="connsiteY68" fmla="*/ 63500 h 473871"/>
                    <a:gd name="connsiteX69" fmla="*/ 3533775 w 3784600"/>
                    <a:gd name="connsiteY69" fmla="*/ 50800 h 473871"/>
                    <a:gd name="connsiteX70" fmla="*/ 3533775 w 3784600"/>
                    <a:gd name="connsiteY70" fmla="*/ 50800 h 473871"/>
                    <a:gd name="connsiteX71" fmla="*/ 3600450 w 3784600"/>
                    <a:gd name="connsiteY71" fmla="*/ 60325 h 473871"/>
                    <a:gd name="connsiteX72" fmla="*/ 3648075 w 3784600"/>
                    <a:gd name="connsiteY72" fmla="*/ 50800 h 473871"/>
                    <a:gd name="connsiteX73" fmla="*/ 3683000 w 3784600"/>
                    <a:gd name="connsiteY73" fmla="*/ 34925 h 473871"/>
                    <a:gd name="connsiteX74" fmla="*/ 3683000 w 3784600"/>
                    <a:gd name="connsiteY74" fmla="*/ 31750 h 473871"/>
                    <a:gd name="connsiteX75" fmla="*/ 3698875 w 3784600"/>
                    <a:gd name="connsiteY75" fmla="*/ 31750 h 473871"/>
                    <a:gd name="connsiteX76" fmla="*/ 3756025 w 3784600"/>
                    <a:gd name="connsiteY76" fmla="*/ 31750 h 473871"/>
                    <a:gd name="connsiteX77" fmla="*/ 3768725 w 3784600"/>
                    <a:gd name="connsiteY77" fmla="*/ 31750 h 473871"/>
                    <a:gd name="connsiteX78" fmla="*/ 3784600 w 3784600"/>
                    <a:gd name="connsiteY78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089025 w 3784600"/>
                    <a:gd name="connsiteY28" fmla="*/ 44450 h 473871"/>
                    <a:gd name="connsiteX29" fmla="*/ 1219200 w 3784600"/>
                    <a:gd name="connsiteY29" fmla="*/ 34925 h 473871"/>
                    <a:gd name="connsiteX30" fmla="*/ 1282700 w 3784600"/>
                    <a:gd name="connsiteY30" fmla="*/ 25400 h 473871"/>
                    <a:gd name="connsiteX31" fmla="*/ 1320800 w 3784600"/>
                    <a:gd name="connsiteY31" fmla="*/ 63500 h 473871"/>
                    <a:gd name="connsiteX32" fmla="*/ 1349375 w 3784600"/>
                    <a:gd name="connsiteY32" fmla="*/ 60325 h 473871"/>
                    <a:gd name="connsiteX33" fmla="*/ 1390650 w 3784600"/>
                    <a:gd name="connsiteY33" fmla="*/ 85725 h 473871"/>
                    <a:gd name="connsiteX34" fmla="*/ 1485900 w 3784600"/>
                    <a:gd name="connsiteY34" fmla="*/ 79375 h 473871"/>
                    <a:gd name="connsiteX35" fmla="*/ 1527175 w 3784600"/>
                    <a:gd name="connsiteY35" fmla="*/ 101600 h 473871"/>
                    <a:gd name="connsiteX36" fmla="*/ 1581150 w 3784600"/>
                    <a:gd name="connsiteY36" fmla="*/ 98425 h 473871"/>
                    <a:gd name="connsiteX37" fmla="*/ 1708150 w 3784600"/>
                    <a:gd name="connsiteY37" fmla="*/ 130175 h 473871"/>
                    <a:gd name="connsiteX38" fmla="*/ 1781175 w 3784600"/>
                    <a:gd name="connsiteY38" fmla="*/ 111125 h 473871"/>
                    <a:gd name="connsiteX39" fmla="*/ 1800225 w 3784600"/>
                    <a:gd name="connsiteY39" fmla="*/ 123825 h 473871"/>
                    <a:gd name="connsiteX40" fmla="*/ 1943100 w 3784600"/>
                    <a:gd name="connsiteY40" fmla="*/ 120650 h 473871"/>
                    <a:gd name="connsiteX41" fmla="*/ 2041525 w 3784600"/>
                    <a:gd name="connsiteY41" fmla="*/ 12700 h 473871"/>
                    <a:gd name="connsiteX42" fmla="*/ 2079625 w 3784600"/>
                    <a:gd name="connsiteY42" fmla="*/ 0 h 473871"/>
                    <a:gd name="connsiteX43" fmla="*/ 2152650 w 3784600"/>
                    <a:gd name="connsiteY43" fmla="*/ 0 h 473871"/>
                    <a:gd name="connsiteX44" fmla="*/ 2197100 w 3784600"/>
                    <a:gd name="connsiteY44" fmla="*/ 28575 h 473871"/>
                    <a:gd name="connsiteX45" fmla="*/ 2247900 w 3784600"/>
                    <a:gd name="connsiteY45" fmla="*/ 38100 h 473871"/>
                    <a:gd name="connsiteX46" fmla="*/ 2301875 w 3784600"/>
                    <a:gd name="connsiteY46" fmla="*/ 47625 h 473871"/>
                    <a:gd name="connsiteX47" fmla="*/ 2317750 w 3784600"/>
                    <a:gd name="connsiteY47" fmla="*/ 69850 h 473871"/>
                    <a:gd name="connsiteX48" fmla="*/ 2390775 w 3784600"/>
                    <a:gd name="connsiteY48" fmla="*/ 63500 h 473871"/>
                    <a:gd name="connsiteX49" fmla="*/ 2454275 w 3784600"/>
                    <a:gd name="connsiteY49" fmla="*/ 85725 h 473871"/>
                    <a:gd name="connsiteX50" fmla="*/ 2489200 w 3784600"/>
                    <a:gd name="connsiteY50" fmla="*/ 79375 h 473871"/>
                    <a:gd name="connsiteX51" fmla="*/ 2559050 w 3784600"/>
                    <a:gd name="connsiteY51" fmla="*/ 107950 h 473871"/>
                    <a:gd name="connsiteX52" fmla="*/ 2590800 w 3784600"/>
                    <a:gd name="connsiteY52" fmla="*/ 123825 h 473871"/>
                    <a:gd name="connsiteX53" fmla="*/ 2657475 w 3784600"/>
                    <a:gd name="connsiteY53" fmla="*/ 133350 h 473871"/>
                    <a:gd name="connsiteX54" fmla="*/ 2765425 w 3784600"/>
                    <a:gd name="connsiteY54" fmla="*/ 161925 h 473871"/>
                    <a:gd name="connsiteX55" fmla="*/ 2806700 w 3784600"/>
                    <a:gd name="connsiteY55" fmla="*/ 133350 h 473871"/>
                    <a:gd name="connsiteX56" fmla="*/ 2889250 w 3784600"/>
                    <a:gd name="connsiteY56" fmla="*/ 130175 h 473871"/>
                    <a:gd name="connsiteX57" fmla="*/ 3032125 w 3784600"/>
                    <a:gd name="connsiteY57" fmla="*/ 98425 h 473871"/>
                    <a:gd name="connsiteX58" fmla="*/ 3086100 w 3784600"/>
                    <a:gd name="connsiteY58" fmla="*/ 101600 h 473871"/>
                    <a:gd name="connsiteX59" fmla="*/ 3121025 w 3784600"/>
                    <a:gd name="connsiteY59" fmla="*/ 47625 h 473871"/>
                    <a:gd name="connsiteX60" fmla="*/ 3162300 w 3784600"/>
                    <a:gd name="connsiteY60" fmla="*/ 31750 h 473871"/>
                    <a:gd name="connsiteX61" fmla="*/ 3209925 w 3784600"/>
                    <a:gd name="connsiteY61" fmla="*/ 31750 h 473871"/>
                    <a:gd name="connsiteX62" fmla="*/ 3257550 w 3784600"/>
                    <a:gd name="connsiteY62" fmla="*/ 73025 h 473871"/>
                    <a:gd name="connsiteX63" fmla="*/ 3286125 w 3784600"/>
                    <a:gd name="connsiteY63" fmla="*/ 98425 h 473871"/>
                    <a:gd name="connsiteX64" fmla="*/ 3343275 w 3784600"/>
                    <a:gd name="connsiteY64" fmla="*/ 19050 h 473871"/>
                    <a:gd name="connsiteX65" fmla="*/ 3365500 w 3784600"/>
                    <a:gd name="connsiteY65" fmla="*/ 34925 h 473871"/>
                    <a:gd name="connsiteX66" fmla="*/ 3403600 w 3784600"/>
                    <a:gd name="connsiteY66" fmla="*/ 60325 h 473871"/>
                    <a:gd name="connsiteX67" fmla="*/ 3470275 w 3784600"/>
                    <a:gd name="connsiteY67" fmla="*/ 63500 h 473871"/>
                    <a:gd name="connsiteX68" fmla="*/ 3533775 w 3784600"/>
                    <a:gd name="connsiteY68" fmla="*/ 50800 h 473871"/>
                    <a:gd name="connsiteX69" fmla="*/ 3533775 w 3784600"/>
                    <a:gd name="connsiteY69" fmla="*/ 50800 h 473871"/>
                    <a:gd name="connsiteX70" fmla="*/ 3600450 w 3784600"/>
                    <a:gd name="connsiteY70" fmla="*/ 60325 h 473871"/>
                    <a:gd name="connsiteX71" fmla="*/ 3648075 w 3784600"/>
                    <a:gd name="connsiteY71" fmla="*/ 50800 h 473871"/>
                    <a:gd name="connsiteX72" fmla="*/ 3683000 w 3784600"/>
                    <a:gd name="connsiteY72" fmla="*/ 34925 h 473871"/>
                    <a:gd name="connsiteX73" fmla="*/ 3683000 w 3784600"/>
                    <a:gd name="connsiteY73" fmla="*/ 31750 h 473871"/>
                    <a:gd name="connsiteX74" fmla="*/ 3698875 w 3784600"/>
                    <a:gd name="connsiteY74" fmla="*/ 31750 h 473871"/>
                    <a:gd name="connsiteX75" fmla="*/ 3756025 w 3784600"/>
                    <a:gd name="connsiteY75" fmla="*/ 31750 h 473871"/>
                    <a:gd name="connsiteX76" fmla="*/ 3768725 w 3784600"/>
                    <a:gd name="connsiteY76" fmla="*/ 31750 h 473871"/>
                    <a:gd name="connsiteX77" fmla="*/ 3784600 w 3784600"/>
                    <a:gd name="connsiteY77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089025 w 3784600"/>
                    <a:gd name="connsiteY28" fmla="*/ 44450 h 473871"/>
                    <a:gd name="connsiteX29" fmla="*/ 1219200 w 3784600"/>
                    <a:gd name="connsiteY29" fmla="*/ 34925 h 473871"/>
                    <a:gd name="connsiteX30" fmla="*/ 1282700 w 3784600"/>
                    <a:gd name="connsiteY30" fmla="*/ 25400 h 473871"/>
                    <a:gd name="connsiteX31" fmla="*/ 1320800 w 3784600"/>
                    <a:gd name="connsiteY31" fmla="*/ 63500 h 473871"/>
                    <a:gd name="connsiteX32" fmla="*/ 1349375 w 3784600"/>
                    <a:gd name="connsiteY32" fmla="*/ 60325 h 473871"/>
                    <a:gd name="connsiteX33" fmla="*/ 1390650 w 3784600"/>
                    <a:gd name="connsiteY33" fmla="*/ 85725 h 473871"/>
                    <a:gd name="connsiteX34" fmla="*/ 1485900 w 3784600"/>
                    <a:gd name="connsiteY34" fmla="*/ 79375 h 473871"/>
                    <a:gd name="connsiteX35" fmla="*/ 1581150 w 3784600"/>
                    <a:gd name="connsiteY35" fmla="*/ 98425 h 473871"/>
                    <a:gd name="connsiteX36" fmla="*/ 1708150 w 3784600"/>
                    <a:gd name="connsiteY36" fmla="*/ 130175 h 473871"/>
                    <a:gd name="connsiteX37" fmla="*/ 1781175 w 3784600"/>
                    <a:gd name="connsiteY37" fmla="*/ 111125 h 473871"/>
                    <a:gd name="connsiteX38" fmla="*/ 1800225 w 3784600"/>
                    <a:gd name="connsiteY38" fmla="*/ 123825 h 473871"/>
                    <a:gd name="connsiteX39" fmla="*/ 1943100 w 3784600"/>
                    <a:gd name="connsiteY39" fmla="*/ 120650 h 473871"/>
                    <a:gd name="connsiteX40" fmla="*/ 2041525 w 3784600"/>
                    <a:gd name="connsiteY40" fmla="*/ 12700 h 473871"/>
                    <a:gd name="connsiteX41" fmla="*/ 2079625 w 3784600"/>
                    <a:gd name="connsiteY41" fmla="*/ 0 h 473871"/>
                    <a:gd name="connsiteX42" fmla="*/ 2152650 w 3784600"/>
                    <a:gd name="connsiteY42" fmla="*/ 0 h 473871"/>
                    <a:gd name="connsiteX43" fmla="*/ 2197100 w 3784600"/>
                    <a:gd name="connsiteY43" fmla="*/ 28575 h 473871"/>
                    <a:gd name="connsiteX44" fmla="*/ 2247900 w 3784600"/>
                    <a:gd name="connsiteY44" fmla="*/ 38100 h 473871"/>
                    <a:gd name="connsiteX45" fmla="*/ 2301875 w 3784600"/>
                    <a:gd name="connsiteY45" fmla="*/ 47625 h 473871"/>
                    <a:gd name="connsiteX46" fmla="*/ 2317750 w 3784600"/>
                    <a:gd name="connsiteY46" fmla="*/ 69850 h 473871"/>
                    <a:gd name="connsiteX47" fmla="*/ 2390775 w 3784600"/>
                    <a:gd name="connsiteY47" fmla="*/ 63500 h 473871"/>
                    <a:gd name="connsiteX48" fmla="*/ 2454275 w 3784600"/>
                    <a:gd name="connsiteY48" fmla="*/ 85725 h 473871"/>
                    <a:gd name="connsiteX49" fmla="*/ 2489200 w 3784600"/>
                    <a:gd name="connsiteY49" fmla="*/ 79375 h 473871"/>
                    <a:gd name="connsiteX50" fmla="*/ 2559050 w 3784600"/>
                    <a:gd name="connsiteY50" fmla="*/ 107950 h 473871"/>
                    <a:gd name="connsiteX51" fmla="*/ 2590800 w 3784600"/>
                    <a:gd name="connsiteY51" fmla="*/ 123825 h 473871"/>
                    <a:gd name="connsiteX52" fmla="*/ 2657475 w 3784600"/>
                    <a:gd name="connsiteY52" fmla="*/ 133350 h 473871"/>
                    <a:gd name="connsiteX53" fmla="*/ 2765425 w 3784600"/>
                    <a:gd name="connsiteY53" fmla="*/ 161925 h 473871"/>
                    <a:gd name="connsiteX54" fmla="*/ 2806700 w 3784600"/>
                    <a:gd name="connsiteY54" fmla="*/ 133350 h 473871"/>
                    <a:gd name="connsiteX55" fmla="*/ 2889250 w 3784600"/>
                    <a:gd name="connsiteY55" fmla="*/ 130175 h 473871"/>
                    <a:gd name="connsiteX56" fmla="*/ 3032125 w 3784600"/>
                    <a:gd name="connsiteY56" fmla="*/ 98425 h 473871"/>
                    <a:gd name="connsiteX57" fmla="*/ 3086100 w 3784600"/>
                    <a:gd name="connsiteY57" fmla="*/ 101600 h 473871"/>
                    <a:gd name="connsiteX58" fmla="*/ 3121025 w 3784600"/>
                    <a:gd name="connsiteY58" fmla="*/ 47625 h 473871"/>
                    <a:gd name="connsiteX59" fmla="*/ 3162300 w 3784600"/>
                    <a:gd name="connsiteY59" fmla="*/ 31750 h 473871"/>
                    <a:gd name="connsiteX60" fmla="*/ 3209925 w 3784600"/>
                    <a:gd name="connsiteY60" fmla="*/ 31750 h 473871"/>
                    <a:gd name="connsiteX61" fmla="*/ 3257550 w 3784600"/>
                    <a:gd name="connsiteY61" fmla="*/ 73025 h 473871"/>
                    <a:gd name="connsiteX62" fmla="*/ 3286125 w 3784600"/>
                    <a:gd name="connsiteY62" fmla="*/ 98425 h 473871"/>
                    <a:gd name="connsiteX63" fmla="*/ 3343275 w 3784600"/>
                    <a:gd name="connsiteY63" fmla="*/ 19050 h 473871"/>
                    <a:gd name="connsiteX64" fmla="*/ 3365500 w 3784600"/>
                    <a:gd name="connsiteY64" fmla="*/ 34925 h 473871"/>
                    <a:gd name="connsiteX65" fmla="*/ 3403600 w 3784600"/>
                    <a:gd name="connsiteY65" fmla="*/ 60325 h 473871"/>
                    <a:gd name="connsiteX66" fmla="*/ 3470275 w 3784600"/>
                    <a:gd name="connsiteY66" fmla="*/ 63500 h 473871"/>
                    <a:gd name="connsiteX67" fmla="*/ 3533775 w 3784600"/>
                    <a:gd name="connsiteY67" fmla="*/ 50800 h 473871"/>
                    <a:gd name="connsiteX68" fmla="*/ 3533775 w 3784600"/>
                    <a:gd name="connsiteY68" fmla="*/ 50800 h 473871"/>
                    <a:gd name="connsiteX69" fmla="*/ 3600450 w 3784600"/>
                    <a:gd name="connsiteY69" fmla="*/ 60325 h 473871"/>
                    <a:gd name="connsiteX70" fmla="*/ 3648075 w 3784600"/>
                    <a:gd name="connsiteY70" fmla="*/ 50800 h 473871"/>
                    <a:gd name="connsiteX71" fmla="*/ 3683000 w 3784600"/>
                    <a:gd name="connsiteY71" fmla="*/ 34925 h 473871"/>
                    <a:gd name="connsiteX72" fmla="*/ 3683000 w 3784600"/>
                    <a:gd name="connsiteY72" fmla="*/ 31750 h 473871"/>
                    <a:gd name="connsiteX73" fmla="*/ 3698875 w 3784600"/>
                    <a:gd name="connsiteY73" fmla="*/ 31750 h 473871"/>
                    <a:gd name="connsiteX74" fmla="*/ 3756025 w 3784600"/>
                    <a:gd name="connsiteY74" fmla="*/ 31750 h 473871"/>
                    <a:gd name="connsiteX75" fmla="*/ 3768725 w 3784600"/>
                    <a:gd name="connsiteY75" fmla="*/ 31750 h 473871"/>
                    <a:gd name="connsiteX76" fmla="*/ 3784600 w 3784600"/>
                    <a:gd name="connsiteY76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089025 w 3784600"/>
                    <a:gd name="connsiteY28" fmla="*/ 44450 h 473871"/>
                    <a:gd name="connsiteX29" fmla="*/ 1219200 w 3784600"/>
                    <a:gd name="connsiteY29" fmla="*/ 34925 h 473871"/>
                    <a:gd name="connsiteX30" fmla="*/ 1282700 w 3784600"/>
                    <a:gd name="connsiteY30" fmla="*/ 25400 h 473871"/>
                    <a:gd name="connsiteX31" fmla="*/ 1320800 w 3784600"/>
                    <a:gd name="connsiteY31" fmla="*/ 63500 h 473871"/>
                    <a:gd name="connsiteX32" fmla="*/ 1349375 w 3784600"/>
                    <a:gd name="connsiteY32" fmla="*/ 60325 h 473871"/>
                    <a:gd name="connsiteX33" fmla="*/ 1390650 w 3784600"/>
                    <a:gd name="connsiteY33" fmla="*/ 85725 h 473871"/>
                    <a:gd name="connsiteX34" fmla="*/ 1581150 w 3784600"/>
                    <a:gd name="connsiteY34" fmla="*/ 98425 h 473871"/>
                    <a:gd name="connsiteX35" fmla="*/ 1708150 w 3784600"/>
                    <a:gd name="connsiteY35" fmla="*/ 130175 h 473871"/>
                    <a:gd name="connsiteX36" fmla="*/ 1781175 w 3784600"/>
                    <a:gd name="connsiteY36" fmla="*/ 111125 h 473871"/>
                    <a:gd name="connsiteX37" fmla="*/ 1800225 w 3784600"/>
                    <a:gd name="connsiteY37" fmla="*/ 123825 h 473871"/>
                    <a:gd name="connsiteX38" fmla="*/ 1943100 w 3784600"/>
                    <a:gd name="connsiteY38" fmla="*/ 120650 h 473871"/>
                    <a:gd name="connsiteX39" fmla="*/ 2041525 w 3784600"/>
                    <a:gd name="connsiteY39" fmla="*/ 12700 h 473871"/>
                    <a:gd name="connsiteX40" fmla="*/ 2079625 w 3784600"/>
                    <a:gd name="connsiteY40" fmla="*/ 0 h 473871"/>
                    <a:gd name="connsiteX41" fmla="*/ 2152650 w 3784600"/>
                    <a:gd name="connsiteY41" fmla="*/ 0 h 473871"/>
                    <a:gd name="connsiteX42" fmla="*/ 2197100 w 3784600"/>
                    <a:gd name="connsiteY42" fmla="*/ 28575 h 473871"/>
                    <a:gd name="connsiteX43" fmla="*/ 2247900 w 3784600"/>
                    <a:gd name="connsiteY43" fmla="*/ 38100 h 473871"/>
                    <a:gd name="connsiteX44" fmla="*/ 2301875 w 3784600"/>
                    <a:gd name="connsiteY44" fmla="*/ 47625 h 473871"/>
                    <a:gd name="connsiteX45" fmla="*/ 2317750 w 3784600"/>
                    <a:gd name="connsiteY45" fmla="*/ 69850 h 473871"/>
                    <a:gd name="connsiteX46" fmla="*/ 2390775 w 3784600"/>
                    <a:gd name="connsiteY46" fmla="*/ 63500 h 473871"/>
                    <a:gd name="connsiteX47" fmla="*/ 2454275 w 3784600"/>
                    <a:gd name="connsiteY47" fmla="*/ 85725 h 473871"/>
                    <a:gd name="connsiteX48" fmla="*/ 2489200 w 3784600"/>
                    <a:gd name="connsiteY48" fmla="*/ 79375 h 473871"/>
                    <a:gd name="connsiteX49" fmla="*/ 2559050 w 3784600"/>
                    <a:gd name="connsiteY49" fmla="*/ 107950 h 473871"/>
                    <a:gd name="connsiteX50" fmla="*/ 2590800 w 3784600"/>
                    <a:gd name="connsiteY50" fmla="*/ 123825 h 473871"/>
                    <a:gd name="connsiteX51" fmla="*/ 2657475 w 3784600"/>
                    <a:gd name="connsiteY51" fmla="*/ 133350 h 473871"/>
                    <a:gd name="connsiteX52" fmla="*/ 2765425 w 3784600"/>
                    <a:gd name="connsiteY52" fmla="*/ 161925 h 473871"/>
                    <a:gd name="connsiteX53" fmla="*/ 2806700 w 3784600"/>
                    <a:gd name="connsiteY53" fmla="*/ 133350 h 473871"/>
                    <a:gd name="connsiteX54" fmla="*/ 2889250 w 3784600"/>
                    <a:gd name="connsiteY54" fmla="*/ 130175 h 473871"/>
                    <a:gd name="connsiteX55" fmla="*/ 3032125 w 3784600"/>
                    <a:gd name="connsiteY55" fmla="*/ 98425 h 473871"/>
                    <a:gd name="connsiteX56" fmla="*/ 3086100 w 3784600"/>
                    <a:gd name="connsiteY56" fmla="*/ 101600 h 473871"/>
                    <a:gd name="connsiteX57" fmla="*/ 3121025 w 3784600"/>
                    <a:gd name="connsiteY57" fmla="*/ 47625 h 473871"/>
                    <a:gd name="connsiteX58" fmla="*/ 3162300 w 3784600"/>
                    <a:gd name="connsiteY58" fmla="*/ 31750 h 473871"/>
                    <a:gd name="connsiteX59" fmla="*/ 3209925 w 3784600"/>
                    <a:gd name="connsiteY59" fmla="*/ 31750 h 473871"/>
                    <a:gd name="connsiteX60" fmla="*/ 3257550 w 3784600"/>
                    <a:gd name="connsiteY60" fmla="*/ 73025 h 473871"/>
                    <a:gd name="connsiteX61" fmla="*/ 3286125 w 3784600"/>
                    <a:gd name="connsiteY61" fmla="*/ 98425 h 473871"/>
                    <a:gd name="connsiteX62" fmla="*/ 3343275 w 3784600"/>
                    <a:gd name="connsiteY62" fmla="*/ 19050 h 473871"/>
                    <a:gd name="connsiteX63" fmla="*/ 3365500 w 3784600"/>
                    <a:gd name="connsiteY63" fmla="*/ 34925 h 473871"/>
                    <a:gd name="connsiteX64" fmla="*/ 3403600 w 3784600"/>
                    <a:gd name="connsiteY64" fmla="*/ 60325 h 473871"/>
                    <a:gd name="connsiteX65" fmla="*/ 3470275 w 3784600"/>
                    <a:gd name="connsiteY65" fmla="*/ 63500 h 473871"/>
                    <a:gd name="connsiteX66" fmla="*/ 3533775 w 3784600"/>
                    <a:gd name="connsiteY66" fmla="*/ 50800 h 473871"/>
                    <a:gd name="connsiteX67" fmla="*/ 3533775 w 3784600"/>
                    <a:gd name="connsiteY67" fmla="*/ 50800 h 473871"/>
                    <a:gd name="connsiteX68" fmla="*/ 3600450 w 3784600"/>
                    <a:gd name="connsiteY68" fmla="*/ 60325 h 473871"/>
                    <a:gd name="connsiteX69" fmla="*/ 3648075 w 3784600"/>
                    <a:gd name="connsiteY69" fmla="*/ 50800 h 473871"/>
                    <a:gd name="connsiteX70" fmla="*/ 3683000 w 3784600"/>
                    <a:gd name="connsiteY70" fmla="*/ 34925 h 473871"/>
                    <a:gd name="connsiteX71" fmla="*/ 3683000 w 3784600"/>
                    <a:gd name="connsiteY71" fmla="*/ 31750 h 473871"/>
                    <a:gd name="connsiteX72" fmla="*/ 3698875 w 3784600"/>
                    <a:gd name="connsiteY72" fmla="*/ 31750 h 473871"/>
                    <a:gd name="connsiteX73" fmla="*/ 3756025 w 3784600"/>
                    <a:gd name="connsiteY73" fmla="*/ 31750 h 473871"/>
                    <a:gd name="connsiteX74" fmla="*/ 3768725 w 3784600"/>
                    <a:gd name="connsiteY74" fmla="*/ 31750 h 473871"/>
                    <a:gd name="connsiteX75" fmla="*/ 3784600 w 3784600"/>
                    <a:gd name="connsiteY75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089025 w 3784600"/>
                    <a:gd name="connsiteY28" fmla="*/ 44450 h 473871"/>
                    <a:gd name="connsiteX29" fmla="*/ 1219200 w 3784600"/>
                    <a:gd name="connsiteY29" fmla="*/ 34925 h 473871"/>
                    <a:gd name="connsiteX30" fmla="*/ 1282700 w 3784600"/>
                    <a:gd name="connsiteY30" fmla="*/ 25400 h 473871"/>
                    <a:gd name="connsiteX31" fmla="*/ 1320800 w 3784600"/>
                    <a:gd name="connsiteY31" fmla="*/ 63500 h 473871"/>
                    <a:gd name="connsiteX32" fmla="*/ 1349375 w 3784600"/>
                    <a:gd name="connsiteY32" fmla="*/ 60325 h 473871"/>
                    <a:gd name="connsiteX33" fmla="*/ 1390650 w 3784600"/>
                    <a:gd name="connsiteY33" fmla="*/ 85725 h 473871"/>
                    <a:gd name="connsiteX34" fmla="*/ 1708150 w 3784600"/>
                    <a:gd name="connsiteY34" fmla="*/ 130175 h 473871"/>
                    <a:gd name="connsiteX35" fmla="*/ 1781175 w 3784600"/>
                    <a:gd name="connsiteY35" fmla="*/ 111125 h 473871"/>
                    <a:gd name="connsiteX36" fmla="*/ 1800225 w 3784600"/>
                    <a:gd name="connsiteY36" fmla="*/ 123825 h 473871"/>
                    <a:gd name="connsiteX37" fmla="*/ 1943100 w 3784600"/>
                    <a:gd name="connsiteY37" fmla="*/ 120650 h 473871"/>
                    <a:gd name="connsiteX38" fmla="*/ 2041525 w 3784600"/>
                    <a:gd name="connsiteY38" fmla="*/ 12700 h 473871"/>
                    <a:gd name="connsiteX39" fmla="*/ 2079625 w 3784600"/>
                    <a:gd name="connsiteY39" fmla="*/ 0 h 473871"/>
                    <a:gd name="connsiteX40" fmla="*/ 2152650 w 3784600"/>
                    <a:gd name="connsiteY40" fmla="*/ 0 h 473871"/>
                    <a:gd name="connsiteX41" fmla="*/ 2197100 w 3784600"/>
                    <a:gd name="connsiteY41" fmla="*/ 28575 h 473871"/>
                    <a:gd name="connsiteX42" fmla="*/ 2247900 w 3784600"/>
                    <a:gd name="connsiteY42" fmla="*/ 38100 h 473871"/>
                    <a:gd name="connsiteX43" fmla="*/ 2301875 w 3784600"/>
                    <a:gd name="connsiteY43" fmla="*/ 47625 h 473871"/>
                    <a:gd name="connsiteX44" fmla="*/ 2317750 w 3784600"/>
                    <a:gd name="connsiteY44" fmla="*/ 69850 h 473871"/>
                    <a:gd name="connsiteX45" fmla="*/ 2390775 w 3784600"/>
                    <a:gd name="connsiteY45" fmla="*/ 63500 h 473871"/>
                    <a:gd name="connsiteX46" fmla="*/ 2454275 w 3784600"/>
                    <a:gd name="connsiteY46" fmla="*/ 85725 h 473871"/>
                    <a:gd name="connsiteX47" fmla="*/ 2489200 w 3784600"/>
                    <a:gd name="connsiteY47" fmla="*/ 79375 h 473871"/>
                    <a:gd name="connsiteX48" fmla="*/ 2559050 w 3784600"/>
                    <a:gd name="connsiteY48" fmla="*/ 107950 h 473871"/>
                    <a:gd name="connsiteX49" fmla="*/ 2590800 w 3784600"/>
                    <a:gd name="connsiteY49" fmla="*/ 123825 h 473871"/>
                    <a:gd name="connsiteX50" fmla="*/ 2657475 w 3784600"/>
                    <a:gd name="connsiteY50" fmla="*/ 133350 h 473871"/>
                    <a:gd name="connsiteX51" fmla="*/ 2765425 w 3784600"/>
                    <a:gd name="connsiteY51" fmla="*/ 161925 h 473871"/>
                    <a:gd name="connsiteX52" fmla="*/ 2806700 w 3784600"/>
                    <a:gd name="connsiteY52" fmla="*/ 133350 h 473871"/>
                    <a:gd name="connsiteX53" fmla="*/ 2889250 w 3784600"/>
                    <a:gd name="connsiteY53" fmla="*/ 130175 h 473871"/>
                    <a:gd name="connsiteX54" fmla="*/ 3032125 w 3784600"/>
                    <a:gd name="connsiteY54" fmla="*/ 98425 h 473871"/>
                    <a:gd name="connsiteX55" fmla="*/ 3086100 w 3784600"/>
                    <a:gd name="connsiteY55" fmla="*/ 101600 h 473871"/>
                    <a:gd name="connsiteX56" fmla="*/ 3121025 w 3784600"/>
                    <a:gd name="connsiteY56" fmla="*/ 47625 h 473871"/>
                    <a:gd name="connsiteX57" fmla="*/ 3162300 w 3784600"/>
                    <a:gd name="connsiteY57" fmla="*/ 31750 h 473871"/>
                    <a:gd name="connsiteX58" fmla="*/ 3209925 w 3784600"/>
                    <a:gd name="connsiteY58" fmla="*/ 31750 h 473871"/>
                    <a:gd name="connsiteX59" fmla="*/ 3257550 w 3784600"/>
                    <a:gd name="connsiteY59" fmla="*/ 73025 h 473871"/>
                    <a:gd name="connsiteX60" fmla="*/ 3286125 w 3784600"/>
                    <a:gd name="connsiteY60" fmla="*/ 98425 h 473871"/>
                    <a:gd name="connsiteX61" fmla="*/ 3343275 w 3784600"/>
                    <a:gd name="connsiteY61" fmla="*/ 19050 h 473871"/>
                    <a:gd name="connsiteX62" fmla="*/ 3365500 w 3784600"/>
                    <a:gd name="connsiteY62" fmla="*/ 34925 h 473871"/>
                    <a:gd name="connsiteX63" fmla="*/ 3403600 w 3784600"/>
                    <a:gd name="connsiteY63" fmla="*/ 60325 h 473871"/>
                    <a:gd name="connsiteX64" fmla="*/ 3470275 w 3784600"/>
                    <a:gd name="connsiteY64" fmla="*/ 63500 h 473871"/>
                    <a:gd name="connsiteX65" fmla="*/ 3533775 w 3784600"/>
                    <a:gd name="connsiteY65" fmla="*/ 50800 h 473871"/>
                    <a:gd name="connsiteX66" fmla="*/ 3533775 w 3784600"/>
                    <a:gd name="connsiteY66" fmla="*/ 50800 h 473871"/>
                    <a:gd name="connsiteX67" fmla="*/ 3600450 w 3784600"/>
                    <a:gd name="connsiteY67" fmla="*/ 60325 h 473871"/>
                    <a:gd name="connsiteX68" fmla="*/ 3648075 w 3784600"/>
                    <a:gd name="connsiteY68" fmla="*/ 50800 h 473871"/>
                    <a:gd name="connsiteX69" fmla="*/ 3683000 w 3784600"/>
                    <a:gd name="connsiteY69" fmla="*/ 34925 h 473871"/>
                    <a:gd name="connsiteX70" fmla="*/ 3683000 w 3784600"/>
                    <a:gd name="connsiteY70" fmla="*/ 31750 h 473871"/>
                    <a:gd name="connsiteX71" fmla="*/ 3698875 w 3784600"/>
                    <a:gd name="connsiteY71" fmla="*/ 31750 h 473871"/>
                    <a:gd name="connsiteX72" fmla="*/ 3756025 w 3784600"/>
                    <a:gd name="connsiteY72" fmla="*/ 31750 h 473871"/>
                    <a:gd name="connsiteX73" fmla="*/ 3768725 w 3784600"/>
                    <a:gd name="connsiteY73" fmla="*/ 31750 h 473871"/>
                    <a:gd name="connsiteX74" fmla="*/ 3784600 w 3784600"/>
                    <a:gd name="connsiteY74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089025 w 3784600"/>
                    <a:gd name="connsiteY28" fmla="*/ 44450 h 473871"/>
                    <a:gd name="connsiteX29" fmla="*/ 1219200 w 3784600"/>
                    <a:gd name="connsiteY29" fmla="*/ 34925 h 473871"/>
                    <a:gd name="connsiteX30" fmla="*/ 1282700 w 3784600"/>
                    <a:gd name="connsiteY30" fmla="*/ 25400 h 473871"/>
                    <a:gd name="connsiteX31" fmla="*/ 1320800 w 3784600"/>
                    <a:gd name="connsiteY31" fmla="*/ 63500 h 473871"/>
                    <a:gd name="connsiteX32" fmla="*/ 1349375 w 3784600"/>
                    <a:gd name="connsiteY32" fmla="*/ 60325 h 473871"/>
                    <a:gd name="connsiteX33" fmla="*/ 1708150 w 3784600"/>
                    <a:gd name="connsiteY33" fmla="*/ 130175 h 473871"/>
                    <a:gd name="connsiteX34" fmla="*/ 1781175 w 3784600"/>
                    <a:gd name="connsiteY34" fmla="*/ 111125 h 473871"/>
                    <a:gd name="connsiteX35" fmla="*/ 1800225 w 3784600"/>
                    <a:gd name="connsiteY35" fmla="*/ 123825 h 473871"/>
                    <a:gd name="connsiteX36" fmla="*/ 1943100 w 3784600"/>
                    <a:gd name="connsiteY36" fmla="*/ 120650 h 473871"/>
                    <a:gd name="connsiteX37" fmla="*/ 2041525 w 3784600"/>
                    <a:gd name="connsiteY37" fmla="*/ 12700 h 473871"/>
                    <a:gd name="connsiteX38" fmla="*/ 2079625 w 3784600"/>
                    <a:gd name="connsiteY38" fmla="*/ 0 h 473871"/>
                    <a:gd name="connsiteX39" fmla="*/ 2152650 w 3784600"/>
                    <a:gd name="connsiteY39" fmla="*/ 0 h 473871"/>
                    <a:gd name="connsiteX40" fmla="*/ 2197100 w 3784600"/>
                    <a:gd name="connsiteY40" fmla="*/ 28575 h 473871"/>
                    <a:gd name="connsiteX41" fmla="*/ 2247900 w 3784600"/>
                    <a:gd name="connsiteY41" fmla="*/ 38100 h 473871"/>
                    <a:gd name="connsiteX42" fmla="*/ 2301875 w 3784600"/>
                    <a:gd name="connsiteY42" fmla="*/ 47625 h 473871"/>
                    <a:gd name="connsiteX43" fmla="*/ 2317750 w 3784600"/>
                    <a:gd name="connsiteY43" fmla="*/ 69850 h 473871"/>
                    <a:gd name="connsiteX44" fmla="*/ 2390775 w 3784600"/>
                    <a:gd name="connsiteY44" fmla="*/ 63500 h 473871"/>
                    <a:gd name="connsiteX45" fmla="*/ 2454275 w 3784600"/>
                    <a:gd name="connsiteY45" fmla="*/ 85725 h 473871"/>
                    <a:gd name="connsiteX46" fmla="*/ 2489200 w 3784600"/>
                    <a:gd name="connsiteY46" fmla="*/ 79375 h 473871"/>
                    <a:gd name="connsiteX47" fmla="*/ 2559050 w 3784600"/>
                    <a:gd name="connsiteY47" fmla="*/ 107950 h 473871"/>
                    <a:gd name="connsiteX48" fmla="*/ 2590800 w 3784600"/>
                    <a:gd name="connsiteY48" fmla="*/ 123825 h 473871"/>
                    <a:gd name="connsiteX49" fmla="*/ 2657475 w 3784600"/>
                    <a:gd name="connsiteY49" fmla="*/ 133350 h 473871"/>
                    <a:gd name="connsiteX50" fmla="*/ 2765425 w 3784600"/>
                    <a:gd name="connsiteY50" fmla="*/ 161925 h 473871"/>
                    <a:gd name="connsiteX51" fmla="*/ 2806700 w 3784600"/>
                    <a:gd name="connsiteY51" fmla="*/ 133350 h 473871"/>
                    <a:gd name="connsiteX52" fmla="*/ 2889250 w 3784600"/>
                    <a:gd name="connsiteY52" fmla="*/ 130175 h 473871"/>
                    <a:gd name="connsiteX53" fmla="*/ 3032125 w 3784600"/>
                    <a:gd name="connsiteY53" fmla="*/ 98425 h 473871"/>
                    <a:gd name="connsiteX54" fmla="*/ 3086100 w 3784600"/>
                    <a:gd name="connsiteY54" fmla="*/ 101600 h 473871"/>
                    <a:gd name="connsiteX55" fmla="*/ 3121025 w 3784600"/>
                    <a:gd name="connsiteY55" fmla="*/ 47625 h 473871"/>
                    <a:gd name="connsiteX56" fmla="*/ 3162300 w 3784600"/>
                    <a:gd name="connsiteY56" fmla="*/ 31750 h 473871"/>
                    <a:gd name="connsiteX57" fmla="*/ 3209925 w 3784600"/>
                    <a:gd name="connsiteY57" fmla="*/ 31750 h 473871"/>
                    <a:gd name="connsiteX58" fmla="*/ 3257550 w 3784600"/>
                    <a:gd name="connsiteY58" fmla="*/ 73025 h 473871"/>
                    <a:gd name="connsiteX59" fmla="*/ 3286125 w 3784600"/>
                    <a:gd name="connsiteY59" fmla="*/ 98425 h 473871"/>
                    <a:gd name="connsiteX60" fmla="*/ 3343275 w 3784600"/>
                    <a:gd name="connsiteY60" fmla="*/ 19050 h 473871"/>
                    <a:gd name="connsiteX61" fmla="*/ 3365500 w 3784600"/>
                    <a:gd name="connsiteY61" fmla="*/ 34925 h 473871"/>
                    <a:gd name="connsiteX62" fmla="*/ 3403600 w 3784600"/>
                    <a:gd name="connsiteY62" fmla="*/ 60325 h 473871"/>
                    <a:gd name="connsiteX63" fmla="*/ 3470275 w 3784600"/>
                    <a:gd name="connsiteY63" fmla="*/ 63500 h 473871"/>
                    <a:gd name="connsiteX64" fmla="*/ 3533775 w 3784600"/>
                    <a:gd name="connsiteY64" fmla="*/ 50800 h 473871"/>
                    <a:gd name="connsiteX65" fmla="*/ 3533775 w 3784600"/>
                    <a:gd name="connsiteY65" fmla="*/ 50800 h 473871"/>
                    <a:gd name="connsiteX66" fmla="*/ 3600450 w 3784600"/>
                    <a:gd name="connsiteY66" fmla="*/ 60325 h 473871"/>
                    <a:gd name="connsiteX67" fmla="*/ 3648075 w 3784600"/>
                    <a:gd name="connsiteY67" fmla="*/ 50800 h 473871"/>
                    <a:gd name="connsiteX68" fmla="*/ 3683000 w 3784600"/>
                    <a:gd name="connsiteY68" fmla="*/ 34925 h 473871"/>
                    <a:gd name="connsiteX69" fmla="*/ 3683000 w 3784600"/>
                    <a:gd name="connsiteY69" fmla="*/ 31750 h 473871"/>
                    <a:gd name="connsiteX70" fmla="*/ 3698875 w 3784600"/>
                    <a:gd name="connsiteY70" fmla="*/ 31750 h 473871"/>
                    <a:gd name="connsiteX71" fmla="*/ 3756025 w 3784600"/>
                    <a:gd name="connsiteY71" fmla="*/ 31750 h 473871"/>
                    <a:gd name="connsiteX72" fmla="*/ 3768725 w 3784600"/>
                    <a:gd name="connsiteY72" fmla="*/ 31750 h 473871"/>
                    <a:gd name="connsiteX73" fmla="*/ 3784600 w 3784600"/>
                    <a:gd name="connsiteY73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089025 w 3784600"/>
                    <a:gd name="connsiteY28" fmla="*/ 44450 h 473871"/>
                    <a:gd name="connsiteX29" fmla="*/ 1219200 w 3784600"/>
                    <a:gd name="connsiteY29" fmla="*/ 34925 h 473871"/>
                    <a:gd name="connsiteX30" fmla="*/ 1282700 w 3784600"/>
                    <a:gd name="connsiteY30" fmla="*/ 25400 h 473871"/>
                    <a:gd name="connsiteX31" fmla="*/ 1320800 w 3784600"/>
                    <a:gd name="connsiteY31" fmla="*/ 63500 h 473871"/>
                    <a:gd name="connsiteX32" fmla="*/ 1708150 w 3784600"/>
                    <a:gd name="connsiteY32" fmla="*/ 130175 h 473871"/>
                    <a:gd name="connsiteX33" fmla="*/ 1781175 w 3784600"/>
                    <a:gd name="connsiteY33" fmla="*/ 111125 h 473871"/>
                    <a:gd name="connsiteX34" fmla="*/ 1800225 w 3784600"/>
                    <a:gd name="connsiteY34" fmla="*/ 123825 h 473871"/>
                    <a:gd name="connsiteX35" fmla="*/ 1943100 w 3784600"/>
                    <a:gd name="connsiteY35" fmla="*/ 120650 h 473871"/>
                    <a:gd name="connsiteX36" fmla="*/ 2041525 w 3784600"/>
                    <a:gd name="connsiteY36" fmla="*/ 12700 h 473871"/>
                    <a:gd name="connsiteX37" fmla="*/ 2079625 w 3784600"/>
                    <a:gd name="connsiteY37" fmla="*/ 0 h 473871"/>
                    <a:gd name="connsiteX38" fmla="*/ 2152650 w 3784600"/>
                    <a:gd name="connsiteY38" fmla="*/ 0 h 473871"/>
                    <a:gd name="connsiteX39" fmla="*/ 2197100 w 3784600"/>
                    <a:gd name="connsiteY39" fmla="*/ 28575 h 473871"/>
                    <a:gd name="connsiteX40" fmla="*/ 2247900 w 3784600"/>
                    <a:gd name="connsiteY40" fmla="*/ 38100 h 473871"/>
                    <a:gd name="connsiteX41" fmla="*/ 2301875 w 3784600"/>
                    <a:gd name="connsiteY41" fmla="*/ 47625 h 473871"/>
                    <a:gd name="connsiteX42" fmla="*/ 2317750 w 3784600"/>
                    <a:gd name="connsiteY42" fmla="*/ 69850 h 473871"/>
                    <a:gd name="connsiteX43" fmla="*/ 2390775 w 3784600"/>
                    <a:gd name="connsiteY43" fmla="*/ 63500 h 473871"/>
                    <a:gd name="connsiteX44" fmla="*/ 2454275 w 3784600"/>
                    <a:gd name="connsiteY44" fmla="*/ 85725 h 473871"/>
                    <a:gd name="connsiteX45" fmla="*/ 2489200 w 3784600"/>
                    <a:gd name="connsiteY45" fmla="*/ 79375 h 473871"/>
                    <a:gd name="connsiteX46" fmla="*/ 2559050 w 3784600"/>
                    <a:gd name="connsiteY46" fmla="*/ 107950 h 473871"/>
                    <a:gd name="connsiteX47" fmla="*/ 2590800 w 3784600"/>
                    <a:gd name="connsiteY47" fmla="*/ 123825 h 473871"/>
                    <a:gd name="connsiteX48" fmla="*/ 2657475 w 3784600"/>
                    <a:gd name="connsiteY48" fmla="*/ 133350 h 473871"/>
                    <a:gd name="connsiteX49" fmla="*/ 2765425 w 3784600"/>
                    <a:gd name="connsiteY49" fmla="*/ 161925 h 473871"/>
                    <a:gd name="connsiteX50" fmla="*/ 2806700 w 3784600"/>
                    <a:gd name="connsiteY50" fmla="*/ 133350 h 473871"/>
                    <a:gd name="connsiteX51" fmla="*/ 2889250 w 3784600"/>
                    <a:gd name="connsiteY51" fmla="*/ 130175 h 473871"/>
                    <a:gd name="connsiteX52" fmla="*/ 3032125 w 3784600"/>
                    <a:gd name="connsiteY52" fmla="*/ 98425 h 473871"/>
                    <a:gd name="connsiteX53" fmla="*/ 3086100 w 3784600"/>
                    <a:gd name="connsiteY53" fmla="*/ 101600 h 473871"/>
                    <a:gd name="connsiteX54" fmla="*/ 3121025 w 3784600"/>
                    <a:gd name="connsiteY54" fmla="*/ 47625 h 473871"/>
                    <a:gd name="connsiteX55" fmla="*/ 3162300 w 3784600"/>
                    <a:gd name="connsiteY55" fmla="*/ 31750 h 473871"/>
                    <a:gd name="connsiteX56" fmla="*/ 3209925 w 3784600"/>
                    <a:gd name="connsiteY56" fmla="*/ 31750 h 473871"/>
                    <a:gd name="connsiteX57" fmla="*/ 3257550 w 3784600"/>
                    <a:gd name="connsiteY57" fmla="*/ 73025 h 473871"/>
                    <a:gd name="connsiteX58" fmla="*/ 3286125 w 3784600"/>
                    <a:gd name="connsiteY58" fmla="*/ 98425 h 473871"/>
                    <a:gd name="connsiteX59" fmla="*/ 3343275 w 3784600"/>
                    <a:gd name="connsiteY59" fmla="*/ 19050 h 473871"/>
                    <a:gd name="connsiteX60" fmla="*/ 3365500 w 3784600"/>
                    <a:gd name="connsiteY60" fmla="*/ 34925 h 473871"/>
                    <a:gd name="connsiteX61" fmla="*/ 3403600 w 3784600"/>
                    <a:gd name="connsiteY61" fmla="*/ 60325 h 473871"/>
                    <a:gd name="connsiteX62" fmla="*/ 3470275 w 3784600"/>
                    <a:gd name="connsiteY62" fmla="*/ 63500 h 473871"/>
                    <a:gd name="connsiteX63" fmla="*/ 3533775 w 3784600"/>
                    <a:gd name="connsiteY63" fmla="*/ 50800 h 473871"/>
                    <a:gd name="connsiteX64" fmla="*/ 3533775 w 3784600"/>
                    <a:gd name="connsiteY64" fmla="*/ 50800 h 473871"/>
                    <a:gd name="connsiteX65" fmla="*/ 3600450 w 3784600"/>
                    <a:gd name="connsiteY65" fmla="*/ 60325 h 473871"/>
                    <a:gd name="connsiteX66" fmla="*/ 3648075 w 3784600"/>
                    <a:gd name="connsiteY66" fmla="*/ 50800 h 473871"/>
                    <a:gd name="connsiteX67" fmla="*/ 3683000 w 3784600"/>
                    <a:gd name="connsiteY67" fmla="*/ 34925 h 473871"/>
                    <a:gd name="connsiteX68" fmla="*/ 3683000 w 3784600"/>
                    <a:gd name="connsiteY68" fmla="*/ 31750 h 473871"/>
                    <a:gd name="connsiteX69" fmla="*/ 3698875 w 3784600"/>
                    <a:gd name="connsiteY69" fmla="*/ 31750 h 473871"/>
                    <a:gd name="connsiteX70" fmla="*/ 3756025 w 3784600"/>
                    <a:gd name="connsiteY70" fmla="*/ 31750 h 473871"/>
                    <a:gd name="connsiteX71" fmla="*/ 3768725 w 3784600"/>
                    <a:gd name="connsiteY71" fmla="*/ 31750 h 473871"/>
                    <a:gd name="connsiteX72" fmla="*/ 3784600 w 3784600"/>
                    <a:gd name="connsiteY72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089025 w 3784600"/>
                    <a:gd name="connsiteY28" fmla="*/ 44450 h 473871"/>
                    <a:gd name="connsiteX29" fmla="*/ 1219200 w 3784600"/>
                    <a:gd name="connsiteY29" fmla="*/ 34925 h 473871"/>
                    <a:gd name="connsiteX30" fmla="*/ 1282700 w 3784600"/>
                    <a:gd name="connsiteY30" fmla="*/ 25400 h 473871"/>
                    <a:gd name="connsiteX31" fmla="*/ 1708150 w 3784600"/>
                    <a:gd name="connsiteY31" fmla="*/ 130175 h 473871"/>
                    <a:gd name="connsiteX32" fmla="*/ 1781175 w 3784600"/>
                    <a:gd name="connsiteY32" fmla="*/ 111125 h 473871"/>
                    <a:gd name="connsiteX33" fmla="*/ 1800225 w 3784600"/>
                    <a:gd name="connsiteY33" fmla="*/ 123825 h 473871"/>
                    <a:gd name="connsiteX34" fmla="*/ 1943100 w 3784600"/>
                    <a:gd name="connsiteY34" fmla="*/ 120650 h 473871"/>
                    <a:gd name="connsiteX35" fmla="*/ 2041525 w 3784600"/>
                    <a:gd name="connsiteY35" fmla="*/ 12700 h 473871"/>
                    <a:gd name="connsiteX36" fmla="*/ 2079625 w 3784600"/>
                    <a:gd name="connsiteY36" fmla="*/ 0 h 473871"/>
                    <a:gd name="connsiteX37" fmla="*/ 2152650 w 3784600"/>
                    <a:gd name="connsiteY37" fmla="*/ 0 h 473871"/>
                    <a:gd name="connsiteX38" fmla="*/ 2197100 w 3784600"/>
                    <a:gd name="connsiteY38" fmla="*/ 28575 h 473871"/>
                    <a:gd name="connsiteX39" fmla="*/ 2247900 w 3784600"/>
                    <a:gd name="connsiteY39" fmla="*/ 38100 h 473871"/>
                    <a:gd name="connsiteX40" fmla="*/ 2301875 w 3784600"/>
                    <a:gd name="connsiteY40" fmla="*/ 47625 h 473871"/>
                    <a:gd name="connsiteX41" fmla="*/ 2317750 w 3784600"/>
                    <a:gd name="connsiteY41" fmla="*/ 69850 h 473871"/>
                    <a:gd name="connsiteX42" fmla="*/ 2390775 w 3784600"/>
                    <a:gd name="connsiteY42" fmla="*/ 63500 h 473871"/>
                    <a:gd name="connsiteX43" fmla="*/ 2454275 w 3784600"/>
                    <a:gd name="connsiteY43" fmla="*/ 85725 h 473871"/>
                    <a:gd name="connsiteX44" fmla="*/ 2489200 w 3784600"/>
                    <a:gd name="connsiteY44" fmla="*/ 79375 h 473871"/>
                    <a:gd name="connsiteX45" fmla="*/ 2559050 w 3784600"/>
                    <a:gd name="connsiteY45" fmla="*/ 107950 h 473871"/>
                    <a:gd name="connsiteX46" fmla="*/ 2590800 w 3784600"/>
                    <a:gd name="connsiteY46" fmla="*/ 123825 h 473871"/>
                    <a:gd name="connsiteX47" fmla="*/ 2657475 w 3784600"/>
                    <a:gd name="connsiteY47" fmla="*/ 133350 h 473871"/>
                    <a:gd name="connsiteX48" fmla="*/ 2765425 w 3784600"/>
                    <a:gd name="connsiteY48" fmla="*/ 161925 h 473871"/>
                    <a:gd name="connsiteX49" fmla="*/ 2806700 w 3784600"/>
                    <a:gd name="connsiteY49" fmla="*/ 133350 h 473871"/>
                    <a:gd name="connsiteX50" fmla="*/ 2889250 w 3784600"/>
                    <a:gd name="connsiteY50" fmla="*/ 130175 h 473871"/>
                    <a:gd name="connsiteX51" fmla="*/ 3032125 w 3784600"/>
                    <a:gd name="connsiteY51" fmla="*/ 98425 h 473871"/>
                    <a:gd name="connsiteX52" fmla="*/ 3086100 w 3784600"/>
                    <a:gd name="connsiteY52" fmla="*/ 101600 h 473871"/>
                    <a:gd name="connsiteX53" fmla="*/ 3121025 w 3784600"/>
                    <a:gd name="connsiteY53" fmla="*/ 47625 h 473871"/>
                    <a:gd name="connsiteX54" fmla="*/ 3162300 w 3784600"/>
                    <a:gd name="connsiteY54" fmla="*/ 31750 h 473871"/>
                    <a:gd name="connsiteX55" fmla="*/ 3209925 w 3784600"/>
                    <a:gd name="connsiteY55" fmla="*/ 31750 h 473871"/>
                    <a:gd name="connsiteX56" fmla="*/ 3257550 w 3784600"/>
                    <a:gd name="connsiteY56" fmla="*/ 73025 h 473871"/>
                    <a:gd name="connsiteX57" fmla="*/ 3286125 w 3784600"/>
                    <a:gd name="connsiteY57" fmla="*/ 98425 h 473871"/>
                    <a:gd name="connsiteX58" fmla="*/ 3343275 w 3784600"/>
                    <a:gd name="connsiteY58" fmla="*/ 19050 h 473871"/>
                    <a:gd name="connsiteX59" fmla="*/ 3365500 w 3784600"/>
                    <a:gd name="connsiteY59" fmla="*/ 34925 h 473871"/>
                    <a:gd name="connsiteX60" fmla="*/ 3403600 w 3784600"/>
                    <a:gd name="connsiteY60" fmla="*/ 60325 h 473871"/>
                    <a:gd name="connsiteX61" fmla="*/ 3470275 w 3784600"/>
                    <a:gd name="connsiteY61" fmla="*/ 63500 h 473871"/>
                    <a:gd name="connsiteX62" fmla="*/ 3533775 w 3784600"/>
                    <a:gd name="connsiteY62" fmla="*/ 50800 h 473871"/>
                    <a:gd name="connsiteX63" fmla="*/ 3533775 w 3784600"/>
                    <a:gd name="connsiteY63" fmla="*/ 50800 h 473871"/>
                    <a:gd name="connsiteX64" fmla="*/ 3600450 w 3784600"/>
                    <a:gd name="connsiteY64" fmla="*/ 60325 h 473871"/>
                    <a:gd name="connsiteX65" fmla="*/ 3648075 w 3784600"/>
                    <a:gd name="connsiteY65" fmla="*/ 50800 h 473871"/>
                    <a:gd name="connsiteX66" fmla="*/ 3683000 w 3784600"/>
                    <a:gd name="connsiteY66" fmla="*/ 34925 h 473871"/>
                    <a:gd name="connsiteX67" fmla="*/ 3683000 w 3784600"/>
                    <a:gd name="connsiteY67" fmla="*/ 31750 h 473871"/>
                    <a:gd name="connsiteX68" fmla="*/ 3698875 w 3784600"/>
                    <a:gd name="connsiteY68" fmla="*/ 31750 h 473871"/>
                    <a:gd name="connsiteX69" fmla="*/ 3756025 w 3784600"/>
                    <a:gd name="connsiteY69" fmla="*/ 31750 h 473871"/>
                    <a:gd name="connsiteX70" fmla="*/ 3768725 w 3784600"/>
                    <a:gd name="connsiteY70" fmla="*/ 31750 h 473871"/>
                    <a:gd name="connsiteX71" fmla="*/ 3784600 w 3784600"/>
                    <a:gd name="connsiteY71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089025 w 3784600"/>
                    <a:gd name="connsiteY28" fmla="*/ 44450 h 473871"/>
                    <a:gd name="connsiteX29" fmla="*/ 1219200 w 3784600"/>
                    <a:gd name="connsiteY29" fmla="*/ 34925 h 473871"/>
                    <a:gd name="connsiteX30" fmla="*/ 1708150 w 3784600"/>
                    <a:gd name="connsiteY30" fmla="*/ 130175 h 473871"/>
                    <a:gd name="connsiteX31" fmla="*/ 1781175 w 3784600"/>
                    <a:gd name="connsiteY31" fmla="*/ 111125 h 473871"/>
                    <a:gd name="connsiteX32" fmla="*/ 1800225 w 3784600"/>
                    <a:gd name="connsiteY32" fmla="*/ 123825 h 473871"/>
                    <a:gd name="connsiteX33" fmla="*/ 1943100 w 3784600"/>
                    <a:gd name="connsiteY33" fmla="*/ 120650 h 473871"/>
                    <a:gd name="connsiteX34" fmla="*/ 2041525 w 3784600"/>
                    <a:gd name="connsiteY34" fmla="*/ 12700 h 473871"/>
                    <a:gd name="connsiteX35" fmla="*/ 2079625 w 3784600"/>
                    <a:gd name="connsiteY35" fmla="*/ 0 h 473871"/>
                    <a:gd name="connsiteX36" fmla="*/ 2152650 w 3784600"/>
                    <a:gd name="connsiteY36" fmla="*/ 0 h 473871"/>
                    <a:gd name="connsiteX37" fmla="*/ 2197100 w 3784600"/>
                    <a:gd name="connsiteY37" fmla="*/ 28575 h 473871"/>
                    <a:gd name="connsiteX38" fmla="*/ 2247900 w 3784600"/>
                    <a:gd name="connsiteY38" fmla="*/ 38100 h 473871"/>
                    <a:gd name="connsiteX39" fmla="*/ 2301875 w 3784600"/>
                    <a:gd name="connsiteY39" fmla="*/ 47625 h 473871"/>
                    <a:gd name="connsiteX40" fmla="*/ 2317750 w 3784600"/>
                    <a:gd name="connsiteY40" fmla="*/ 69850 h 473871"/>
                    <a:gd name="connsiteX41" fmla="*/ 2390775 w 3784600"/>
                    <a:gd name="connsiteY41" fmla="*/ 63500 h 473871"/>
                    <a:gd name="connsiteX42" fmla="*/ 2454275 w 3784600"/>
                    <a:gd name="connsiteY42" fmla="*/ 85725 h 473871"/>
                    <a:gd name="connsiteX43" fmla="*/ 2489200 w 3784600"/>
                    <a:gd name="connsiteY43" fmla="*/ 79375 h 473871"/>
                    <a:gd name="connsiteX44" fmla="*/ 2559050 w 3784600"/>
                    <a:gd name="connsiteY44" fmla="*/ 107950 h 473871"/>
                    <a:gd name="connsiteX45" fmla="*/ 2590800 w 3784600"/>
                    <a:gd name="connsiteY45" fmla="*/ 123825 h 473871"/>
                    <a:gd name="connsiteX46" fmla="*/ 2657475 w 3784600"/>
                    <a:gd name="connsiteY46" fmla="*/ 133350 h 473871"/>
                    <a:gd name="connsiteX47" fmla="*/ 2765425 w 3784600"/>
                    <a:gd name="connsiteY47" fmla="*/ 161925 h 473871"/>
                    <a:gd name="connsiteX48" fmla="*/ 2806700 w 3784600"/>
                    <a:gd name="connsiteY48" fmla="*/ 133350 h 473871"/>
                    <a:gd name="connsiteX49" fmla="*/ 2889250 w 3784600"/>
                    <a:gd name="connsiteY49" fmla="*/ 130175 h 473871"/>
                    <a:gd name="connsiteX50" fmla="*/ 3032125 w 3784600"/>
                    <a:gd name="connsiteY50" fmla="*/ 98425 h 473871"/>
                    <a:gd name="connsiteX51" fmla="*/ 3086100 w 3784600"/>
                    <a:gd name="connsiteY51" fmla="*/ 101600 h 473871"/>
                    <a:gd name="connsiteX52" fmla="*/ 3121025 w 3784600"/>
                    <a:gd name="connsiteY52" fmla="*/ 47625 h 473871"/>
                    <a:gd name="connsiteX53" fmla="*/ 3162300 w 3784600"/>
                    <a:gd name="connsiteY53" fmla="*/ 31750 h 473871"/>
                    <a:gd name="connsiteX54" fmla="*/ 3209925 w 3784600"/>
                    <a:gd name="connsiteY54" fmla="*/ 31750 h 473871"/>
                    <a:gd name="connsiteX55" fmla="*/ 3257550 w 3784600"/>
                    <a:gd name="connsiteY55" fmla="*/ 73025 h 473871"/>
                    <a:gd name="connsiteX56" fmla="*/ 3286125 w 3784600"/>
                    <a:gd name="connsiteY56" fmla="*/ 98425 h 473871"/>
                    <a:gd name="connsiteX57" fmla="*/ 3343275 w 3784600"/>
                    <a:gd name="connsiteY57" fmla="*/ 19050 h 473871"/>
                    <a:gd name="connsiteX58" fmla="*/ 3365500 w 3784600"/>
                    <a:gd name="connsiteY58" fmla="*/ 34925 h 473871"/>
                    <a:gd name="connsiteX59" fmla="*/ 3403600 w 3784600"/>
                    <a:gd name="connsiteY59" fmla="*/ 60325 h 473871"/>
                    <a:gd name="connsiteX60" fmla="*/ 3470275 w 3784600"/>
                    <a:gd name="connsiteY60" fmla="*/ 63500 h 473871"/>
                    <a:gd name="connsiteX61" fmla="*/ 3533775 w 3784600"/>
                    <a:gd name="connsiteY61" fmla="*/ 50800 h 473871"/>
                    <a:gd name="connsiteX62" fmla="*/ 3533775 w 3784600"/>
                    <a:gd name="connsiteY62" fmla="*/ 50800 h 473871"/>
                    <a:gd name="connsiteX63" fmla="*/ 3600450 w 3784600"/>
                    <a:gd name="connsiteY63" fmla="*/ 60325 h 473871"/>
                    <a:gd name="connsiteX64" fmla="*/ 3648075 w 3784600"/>
                    <a:gd name="connsiteY64" fmla="*/ 50800 h 473871"/>
                    <a:gd name="connsiteX65" fmla="*/ 3683000 w 3784600"/>
                    <a:gd name="connsiteY65" fmla="*/ 34925 h 473871"/>
                    <a:gd name="connsiteX66" fmla="*/ 3683000 w 3784600"/>
                    <a:gd name="connsiteY66" fmla="*/ 31750 h 473871"/>
                    <a:gd name="connsiteX67" fmla="*/ 3698875 w 3784600"/>
                    <a:gd name="connsiteY67" fmla="*/ 31750 h 473871"/>
                    <a:gd name="connsiteX68" fmla="*/ 3756025 w 3784600"/>
                    <a:gd name="connsiteY68" fmla="*/ 31750 h 473871"/>
                    <a:gd name="connsiteX69" fmla="*/ 3768725 w 3784600"/>
                    <a:gd name="connsiteY69" fmla="*/ 31750 h 473871"/>
                    <a:gd name="connsiteX70" fmla="*/ 3784600 w 3784600"/>
                    <a:gd name="connsiteY70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089025 w 3784600"/>
                    <a:gd name="connsiteY28" fmla="*/ 44450 h 473871"/>
                    <a:gd name="connsiteX29" fmla="*/ 1708150 w 3784600"/>
                    <a:gd name="connsiteY29" fmla="*/ 130175 h 473871"/>
                    <a:gd name="connsiteX30" fmla="*/ 1781175 w 3784600"/>
                    <a:gd name="connsiteY30" fmla="*/ 111125 h 473871"/>
                    <a:gd name="connsiteX31" fmla="*/ 1800225 w 3784600"/>
                    <a:gd name="connsiteY31" fmla="*/ 123825 h 473871"/>
                    <a:gd name="connsiteX32" fmla="*/ 1943100 w 3784600"/>
                    <a:gd name="connsiteY32" fmla="*/ 120650 h 473871"/>
                    <a:gd name="connsiteX33" fmla="*/ 2041525 w 3784600"/>
                    <a:gd name="connsiteY33" fmla="*/ 12700 h 473871"/>
                    <a:gd name="connsiteX34" fmla="*/ 2079625 w 3784600"/>
                    <a:gd name="connsiteY34" fmla="*/ 0 h 473871"/>
                    <a:gd name="connsiteX35" fmla="*/ 2152650 w 3784600"/>
                    <a:gd name="connsiteY35" fmla="*/ 0 h 473871"/>
                    <a:gd name="connsiteX36" fmla="*/ 2197100 w 3784600"/>
                    <a:gd name="connsiteY36" fmla="*/ 28575 h 473871"/>
                    <a:gd name="connsiteX37" fmla="*/ 2247900 w 3784600"/>
                    <a:gd name="connsiteY37" fmla="*/ 38100 h 473871"/>
                    <a:gd name="connsiteX38" fmla="*/ 2301875 w 3784600"/>
                    <a:gd name="connsiteY38" fmla="*/ 47625 h 473871"/>
                    <a:gd name="connsiteX39" fmla="*/ 2317750 w 3784600"/>
                    <a:gd name="connsiteY39" fmla="*/ 69850 h 473871"/>
                    <a:gd name="connsiteX40" fmla="*/ 2390775 w 3784600"/>
                    <a:gd name="connsiteY40" fmla="*/ 63500 h 473871"/>
                    <a:gd name="connsiteX41" fmla="*/ 2454275 w 3784600"/>
                    <a:gd name="connsiteY41" fmla="*/ 85725 h 473871"/>
                    <a:gd name="connsiteX42" fmla="*/ 2489200 w 3784600"/>
                    <a:gd name="connsiteY42" fmla="*/ 79375 h 473871"/>
                    <a:gd name="connsiteX43" fmla="*/ 2559050 w 3784600"/>
                    <a:gd name="connsiteY43" fmla="*/ 107950 h 473871"/>
                    <a:gd name="connsiteX44" fmla="*/ 2590800 w 3784600"/>
                    <a:gd name="connsiteY44" fmla="*/ 123825 h 473871"/>
                    <a:gd name="connsiteX45" fmla="*/ 2657475 w 3784600"/>
                    <a:gd name="connsiteY45" fmla="*/ 133350 h 473871"/>
                    <a:gd name="connsiteX46" fmla="*/ 2765425 w 3784600"/>
                    <a:gd name="connsiteY46" fmla="*/ 161925 h 473871"/>
                    <a:gd name="connsiteX47" fmla="*/ 2806700 w 3784600"/>
                    <a:gd name="connsiteY47" fmla="*/ 133350 h 473871"/>
                    <a:gd name="connsiteX48" fmla="*/ 2889250 w 3784600"/>
                    <a:gd name="connsiteY48" fmla="*/ 130175 h 473871"/>
                    <a:gd name="connsiteX49" fmla="*/ 3032125 w 3784600"/>
                    <a:gd name="connsiteY49" fmla="*/ 98425 h 473871"/>
                    <a:gd name="connsiteX50" fmla="*/ 3086100 w 3784600"/>
                    <a:gd name="connsiteY50" fmla="*/ 101600 h 473871"/>
                    <a:gd name="connsiteX51" fmla="*/ 3121025 w 3784600"/>
                    <a:gd name="connsiteY51" fmla="*/ 47625 h 473871"/>
                    <a:gd name="connsiteX52" fmla="*/ 3162300 w 3784600"/>
                    <a:gd name="connsiteY52" fmla="*/ 31750 h 473871"/>
                    <a:gd name="connsiteX53" fmla="*/ 3209925 w 3784600"/>
                    <a:gd name="connsiteY53" fmla="*/ 31750 h 473871"/>
                    <a:gd name="connsiteX54" fmla="*/ 3257550 w 3784600"/>
                    <a:gd name="connsiteY54" fmla="*/ 73025 h 473871"/>
                    <a:gd name="connsiteX55" fmla="*/ 3286125 w 3784600"/>
                    <a:gd name="connsiteY55" fmla="*/ 98425 h 473871"/>
                    <a:gd name="connsiteX56" fmla="*/ 3343275 w 3784600"/>
                    <a:gd name="connsiteY56" fmla="*/ 19050 h 473871"/>
                    <a:gd name="connsiteX57" fmla="*/ 3365500 w 3784600"/>
                    <a:gd name="connsiteY57" fmla="*/ 34925 h 473871"/>
                    <a:gd name="connsiteX58" fmla="*/ 3403600 w 3784600"/>
                    <a:gd name="connsiteY58" fmla="*/ 60325 h 473871"/>
                    <a:gd name="connsiteX59" fmla="*/ 3470275 w 3784600"/>
                    <a:gd name="connsiteY59" fmla="*/ 63500 h 473871"/>
                    <a:gd name="connsiteX60" fmla="*/ 3533775 w 3784600"/>
                    <a:gd name="connsiteY60" fmla="*/ 50800 h 473871"/>
                    <a:gd name="connsiteX61" fmla="*/ 3533775 w 3784600"/>
                    <a:gd name="connsiteY61" fmla="*/ 50800 h 473871"/>
                    <a:gd name="connsiteX62" fmla="*/ 3600450 w 3784600"/>
                    <a:gd name="connsiteY62" fmla="*/ 60325 h 473871"/>
                    <a:gd name="connsiteX63" fmla="*/ 3648075 w 3784600"/>
                    <a:gd name="connsiteY63" fmla="*/ 50800 h 473871"/>
                    <a:gd name="connsiteX64" fmla="*/ 3683000 w 3784600"/>
                    <a:gd name="connsiteY64" fmla="*/ 34925 h 473871"/>
                    <a:gd name="connsiteX65" fmla="*/ 3683000 w 3784600"/>
                    <a:gd name="connsiteY65" fmla="*/ 31750 h 473871"/>
                    <a:gd name="connsiteX66" fmla="*/ 3698875 w 3784600"/>
                    <a:gd name="connsiteY66" fmla="*/ 31750 h 473871"/>
                    <a:gd name="connsiteX67" fmla="*/ 3756025 w 3784600"/>
                    <a:gd name="connsiteY67" fmla="*/ 31750 h 473871"/>
                    <a:gd name="connsiteX68" fmla="*/ 3768725 w 3784600"/>
                    <a:gd name="connsiteY68" fmla="*/ 31750 h 473871"/>
                    <a:gd name="connsiteX69" fmla="*/ 3784600 w 3784600"/>
                    <a:gd name="connsiteY69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041400 w 3784600"/>
                    <a:gd name="connsiteY27" fmla="*/ 38100 h 473871"/>
                    <a:gd name="connsiteX28" fmla="*/ 1708150 w 3784600"/>
                    <a:gd name="connsiteY28" fmla="*/ 130175 h 473871"/>
                    <a:gd name="connsiteX29" fmla="*/ 1781175 w 3784600"/>
                    <a:gd name="connsiteY29" fmla="*/ 111125 h 473871"/>
                    <a:gd name="connsiteX30" fmla="*/ 1800225 w 3784600"/>
                    <a:gd name="connsiteY30" fmla="*/ 123825 h 473871"/>
                    <a:gd name="connsiteX31" fmla="*/ 1943100 w 3784600"/>
                    <a:gd name="connsiteY31" fmla="*/ 120650 h 473871"/>
                    <a:gd name="connsiteX32" fmla="*/ 2041525 w 3784600"/>
                    <a:gd name="connsiteY32" fmla="*/ 12700 h 473871"/>
                    <a:gd name="connsiteX33" fmla="*/ 2079625 w 3784600"/>
                    <a:gd name="connsiteY33" fmla="*/ 0 h 473871"/>
                    <a:gd name="connsiteX34" fmla="*/ 2152650 w 3784600"/>
                    <a:gd name="connsiteY34" fmla="*/ 0 h 473871"/>
                    <a:gd name="connsiteX35" fmla="*/ 2197100 w 3784600"/>
                    <a:gd name="connsiteY35" fmla="*/ 28575 h 473871"/>
                    <a:gd name="connsiteX36" fmla="*/ 2247900 w 3784600"/>
                    <a:gd name="connsiteY36" fmla="*/ 38100 h 473871"/>
                    <a:gd name="connsiteX37" fmla="*/ 2301875 w 3784600"/>
                    <a:gd name="connsiteY37" fmla="*/ 47625 h 473871"/>
                    <a:gd name="connsiteX38" fmla="*/ 2317750 w 3784600"/>
                    <a:gd name="connsiteY38" fmla="*/ 69850 h 473871"/>
                    <a:gd name="connsiteX39" fmla="*/ 2390775 w 3784600"/>
                    <a:gd name="connsiteY39" fmla="*/ 63500 h 473871"/>
                    <a:gd name="connsiteX40" fmla="*/ 2454275 w 3784600"/>
                    <a:gd name="connsiteY40" fmla="*/ 85725 h 473871"/>
                    <a:gd name="connsiteX41" fmla="*/ 2489200 w 3784600"/>
                    <a:gd name="connsiteY41" fmla="*/ 79375 h 473871"/>
                    <a:gd name="connsiteX42" fmla="*/ 2559050 w 3784600"/>
                    <a:gd name="connsiteY42" fmla="*/ 107950 h 473871"/>
                    <a:gd name="connsiteX43" fmla="*/ 2590800 w 3784600"/>
                    <a:gd name="connsiteY43" fmla="*/ 123825 h 473871"/>
                    <a:gd name="connsiteX44" fmla="*/ 2657475 w 3784600"/>
                    <a:gd name="connsiteY44" fmla="*/ 133350 h 473871"/>
                    <a:gd name="connsiteX45" fmla="*/ 2765425 w 3784600"/>
                    <a:gd name="connsiteY45" fmla="*/ 161925 h 473871"/>
                    <a:gd name="connsiteX46" fmla="*/ 2806700 w 3784600"/>
                    <a:gd name="connsiteY46" fmla="*/ 133350 h 473871"/>
                    <a:gd name="connsiteX47" fmla="*/ 2889250 w 3784600"/>
                    <a:gd name="connsiteY47" fmla="*/ 130175 h 473871"/>
                    <a:gd name="connsiteX48" fmla="*/ 3032125 w 3784600"/>
                    <a:gd name="connsiteY48" fmla="*/ 98425 h 473871"/>
                    <a:gd name="connsiteX49" fmla="*/ 3086100 w 3784600"/>
                    <a:gd name="connsiteY49" fmla="*/ 101600 h 473871"/>
                    <a:gd name="connsiteX50" fmla="*/ 3121025 w 3784600"/>
                    <a:gd name="connsiteY50" fmla="*/ 47625 h 473871"/>
                    <a:gd name="connsiteX51" fmla="*/ 3162300 w 3784600"/>
                    <a:gd name="connsiteY51" fmla="*/ 31750 h 473871"/>
                    <a:gd name="connsiteX52" fmla="*/ 3209925 w 3784600"/>
                    <a:gd name="connsiteY52" fmla="*/ 31750 h 473871"/>
                    <a:gd name="connsiteX53" fmla="*/ 3257550 w 3784600"/>
                    <a:gd name="connsiteY53" fmla="*/ 73025 h 473871"/>
                    <a:gd name="connsiteX54" fmla="*/ 3286125 w 3784600"/>
                    <a:gd name="connsiteY54" fmla="*/ 98425 h 473871"/>
                    <a:gd name="connsiteX55" fmla="*/ 3343275 w 3784600"/>
                    <a:gd name="connsiteY55" fmla="*/ 19050 h 473871"/>
                    <a:gd name="connsiteX56" fmla="*/ 3365500 w 3784600"/>
                    <a:gd name="connsiteY56" fmla="*/ 34925 h 473871"/>
                    <a:gd name="connsiteX57" fmla="*/ 3403600 w 3784600"/>
                    <a:gd name="connsiteY57" fmla="*/ 60325 h 473871"/>
                    <a:gd name="connsiteX58" fmla="*/ 3470275 w 3784600"/>
                    <a:gd name="connsiteY58" fmla="*/ 63500 h 473871"/>
                    <a:gd name="connsiteX59" fmla="*/ 3533775 w 3784600"/>
                    <a:gd name="connsiteY59" fmla="*/ 50800 h 473871"/>
                    <a:gd name="connsiteX60" fmla="*/ 3533775 w 3784600"/>
                    <a:gd name="connsiteY60" fmla="*/ 50800 h 473871"/>
                    <a:gd name="connsiteX61" fmla="*/ 3600450 w 3784600"/>
                    <a:gd name="connsiteY61" fmla="*/ 60325 h 473871"/>
                    <a:gd name="connsiteX62" fmla="*/ 3648075 w 3784600"/>
                    <a:gd name="connsiteY62" fmla="*/ 50800 h 473871"/>
                    <a:gd name="connsiteX63" fmla="*/ 3683000 w 3784600"/>
                    <a:gd name="connsiteY63" fmla="*/ 34925 h 473871"/>
                    <a:gd name="connsiteX64" fmla="*/ 3683000 w 3784600"/>
                    <a:gd name="connsiteY64" fmla="*/ 31750 h 473871"/>
                    <a:gd name="connsiteX65" fmla="*/ 3698875 w 3784600"/>
                    <a:gd name="connsiteY65" fmla="*/ 31750 h 473871"/>
                    <a:gd name="connsiteX66" fmla="*/ 3756025 w 3784600"/>
                    <a:gd name="connsiteY66" fmla="*/ 31750 h 473871"/>
                    <a:gd name="connsiteX67" fmla="*/ 3768725 w 3784600"/>
                    <a:gd name="connsiteY67" fmla="*/ 31750 h 473871"/>
                    <a:gd name="connsiteX68" fmla="*/ 3784600 w 3784600"/>
                    <a:gd name="connsiteY68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977900 w 3784600"/>
                    <a:gd name="connsiteY26" fmla="*/ 47625 h 473871"/>
                    <a:gd name="connsiteX27" fmla="*/ 1708150 w 3784600"/>
                    <a:gd name="connsiteY27" fmla="*/ 130175 h 473871"/>
                    <a:gd name="connsiteX28" fmla="*/ 1781175 w 3784600"/>
                    <a:gd name="connsiteY28" fmla="*/ 111125 h 473871"/>
                    <a:gd name="connsiteX29" fmla="*/ 1800225 w 3784600"/>
                    <a:gd name="connsiteY29" fmla="*/ 123825 h 473871"/>
                    <a:gd name="connsiteX30" fmla="*/ 1943100 w 3784600"/>
                    <a:gd name="connsiteY30" fmla="*/ 120650 h 473871"/>
                    <a:gd name="connsiteX31" fmla="*/ 2041525 w 3784600"/>
                    <a:gd name="connsiteY31" fmla="*/ 12700 h 473871"/>
                    <a:gd name="connsiteX32" fmla="*/ 2079625 w 3784600"/>
                    <a:gd name="connsiteY32" fmla="*/ 0 h 473871"/>
                    <a:gd name="connsiteX33" fmla="*/ 2152650 w 3784600"/>
                    <a:gd name="connsiteY33" fmla="*/ 0 h 473871"/>
                    <a:gd name="connsiteX34" fmla="*/ 2197100 w 3784600"/>
                    <a:gd name="connsiteY34" fmla="*/ 28575 h 473871"/>
                    <a:gd name="connsiteX35" fmla="*/ 2247900 w 3784600"/>
                    <a:gd name="connsiteY35" fmla="*/ 38100 h 473871"/>
                    <a:gd name="connsiteX36" fmla="*/ 2301875 w 3784600"/>
                    <a:gd name="connsiteY36" fmla="*/ 47625 h 473871"/>
                    <a:gd name="connsiteX37" fmla="*/ 2317750 w 3784600"/>
                    <a:gd name="connsiteY37" fmla="*/ 69850 h 473871"/>
                    <a:gd name="connsiteX38" fmla="*/ 2390775 w 3784600"/>
                    <a:gd name="connsiteY38" fmla="*/ 63500 h 473871"/>
                    <a:gd name="connsiteX39" fmla="*/ 2454275 w 3784600"/>
                    <a:gd name="connsiteY39" fmla="*/ 85725 h 473871"/>
                    <a:gd name="connsiteX40" fmla="*/ 2489200 w 3784600"/>
                    <a:gd name="connsiteY40" fmla="*/ 79375 h 473871"/>
                    <a:gd name="connsiteX41" fmla="*/ 2559050 w 3784600"/>
                    <a:gd name="connsiteY41" fmla="*/ 107950 h 473871"/>
                    <a:gd name="connsiteX42" fmla="*/ 2590800 w 3784600"/>
                    <a:gd name="connsiteY42" fmla="*/ 123825 h 473871"/>
                    <a:gd name="connsiteX43" fmla="*/ 2657475 w 3784600"/>
                    <a:gd name="connsiteY43" fmla="*/ 133350 h 473871"/>
                    <a:gd name="connsiteX44" fmla="*/ 2765425 w 3784600"/>
                    <a:gd name="connsiteY44" fmla="*/ 161925 h 473871"/>
                    <a:gd name="connsiteX45" fmla="*/ 2806700 w 3784600"/>
                    <a:gd name="connsiteY45" fmla="*/ 133350 h 473871"/>
                    <a:gd name="connsiteX46" fmla="*/ 2889250 w 3784600"/>
                    <a:gd name="connsiteY46" fmla="*/ 130175 h 473871"/>
                    <a:gd name="connsiteX47" fmla="*/ 3032125 w 3784600"/>
                    <a:gd name="connsiteY47" fmla="*/ 98425 h 473871"/>
                    <a:gd name="connsiteX48" fmla="*/ 3086100 w 3784600"/>
                    <a:gd name="connsiteY48" fmla="*/ 101600 h 473871"/>
                    <a:gd name="connsiteX49" fmla="*/ 3121025 w 3784600"/>
                    <a:gd name="connsiteY49" fmla="*/ 47625 h 473871"/>
                    <a:gd name="connsiteX50" fmla="*/ 3162300 w 3784600"/>
                    <a:gd name="connsiteY50" fmla="*/ 31750 h 473871"/>
                    <a:gd name="connsiteX51" fmla="*/ 3209925 w 3784600"/>
                    <a:gd name="connsiteY51" fmla="*/ 31750 h 473871"/>
                    <a:gd name="connsiteX52" fmla="*/ 3257550 w 3784600"/>
                    <a:gd name="connsiteY52" fmla="*/ 73025 h 473871"/>
                    <a:gd name="connsiteX53" fmla="*/ 3286125 w 3784600"/>
                    <a:gd name="connsiteY53" fmla="*/ 98425 h 473871"/>
                    <a:gd name="connsiteX54" fmla="*/ 3343275 w 3784600"/>
                    <a:gd name="connsiteY54" fmla="*/ 19050 h 473871"/>
                    <a:gd name="connsiteX55" fmla="*/ 3365500 w 3784600"/>
                    <a:gd name="connsiteY55" fmla="*/ 34925 h 473871"/>
                    <a:gd name="connsiteX56" fmla="*/ 3403600 w 3784600"/>
                    <a:gd name="connsiteY56" fmla="*/ 60325 h 473871"/>
                    <a:gd name="connsiteX57" fmla="*/ 3470275 w 3784600"/>
                    <a:gd name="connsiteY57" fmla="*/ 63500 h 473871"/>
                    <a:gd name="connsiteX58" fmla="*/ 3533775 w 3784600"/>
                    <a:gd name="connsiteY58" fmla="*/ 50800 h 473871"/>
                    <a:gd name="connsiteX59" fmla="*/ 3533775 w 3784600"/>
                    <a:gd name="connsiteY59" fmla="*/ 50800 h 473871"/>
                    <a:gd name="connsiteX60" fmla="*/ 3600450 w 3784600"/>
                    <a:gd name="connsiteY60" fmla="*/ 60325 h 473871"/>
                    <a:gd name="connsiteX61" fmla="*/ 3648075 w 3784600"/>
                    <a:gd name="connsiteY61" fmla="*/ 50800 h 473871"/>
                    <a:gd name="connsiteX62" fmla="*/ 3683000 w 3784600"/>
                    <a:gd name="connsiteY62" fmla="*/ 34925 h 473871"/>
                    <a:gd name="connsiteX63" fmla="*/ 3683000 w 3784600"/>
                    <a:gd name="connsiteY63" fmla="*/ 31750 h 473871"/>
                    <a:gd name="connsiteX64" fmla="*/ 3698875 w 3784600"/>
                    <a:gd name="connsiteY64" fmla="*/ 31750 h 473871"/>
                    <a:gd name="connsiteX65" fmla="*/ 3756025 w 3784600"/>
                    <a:gd name="connsiteY65" fmla="*/ 31750 h 473871"/>
                    <a:gd name="connsiteX66" fmla="*/ 3768725 w 3784600"/>
                    <a:gd name="connsiteY66" fmla="*/ 31750 h 473871"/>
                    <a:gd name="connsiteX67" fmla="*/ 3784600 w 3784600"/>
                    <a:gd name="connsiteY67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936625 w 3784600"/>
                    <a:gd name="connsiteY25" fmla="*/ 60325 h 473871"/>
                    <a:gd name="connsiteX26" fmla="*/ 1708150 w 3784600"/>
                    <a:gd name="connsiteY26" fmla="*/ 130175 h 473871"/>
                    <a:gd name="connsiteX27" fmla="*/ 1781175 w 3784600"/>
                    <a:gd name="connsiteY27" fmla="*/ 111125 h 473871"/>
                    <a:gd name="connsiteX28" fmla="*/ 1800225 w 3784600"/>
                    <a:gd name="connsiteY28" fmla="*/ 123825 h 473871"/>
                    <a:gd name="connsiteX29" fmla="*/ 1943100 w 3784600"/>
                    <a:gd name="connsiteY29" fmla="*/ 120650 h 473871"/>
                    <a:gd name="connsiteX30" fmla="*/ 2041525 w 3784600"/>
                    <a:gd name="connsiteY30" fmla="*/ 12700 h 473871"/>
                    <a:gd name="connsiteX31" fmla="*/ 2079625 w 3784600"/>
                    <a:gd name="connsiteY31" fmla="*/ 0 h 473871"/>
                    <a:gd name="connsiteX32" fmla="*/ 2152650 w 3784600"/>
                    <a:gd name="connsiteY32" fmla="*/ 0 h 473871"/>
                    <a:gd name="connsiteX33" fmla="*/ 2197100 w 3784600"/>
                    <a:gd name="connsiteY33" fmla="*/ 28575 h 473871"/>
                    <a:gd name="connsiteX34" fmla="*/ 2247900 w 3784600"/>
                    <a:gd name="connsiteY34" fmla="*/ 38100 h 473871"/>
                    <a:gd name="connsiteX35" fmla="*/ 2301875 w 3784600"/>
                    <a:gd name="connsiteY35" fmla="*/ 47625 h 473871"/>
                    <a:gd name="connsiteX36" fmla="*/ 2317750 w 3784600"/>
                    <a:gd name="connsiteY36" fmla="*/ 69850 h 473871"/>
                    <a:gd name="connsiteX37" fmla="*/ 2390775 w 3784600"/>
                    <a:gd name="connsiteY37" fmla="*/ 63500 h 473871"/>
                    <a:gd name="connsiteX38" fmla="*/ 2454275 w 3784600"/>
                    <a:gd name="connsiteY38" fmla="*/ 85725 h 473871"/>
                    <a:gd name="connsiteX39" fmla="*/ 2489200 w 3784600"/>
                    <a:gd name="connsiteY39" fmla="*/ 79375 h 473871"/>
                    <a:gd name="connsiteX40" fmla="*/ 2559050 w 3784600"/>
                    <a:gd name="connsiteY40" fmla="*/ 107950 h 473871"/>
                    <a:gd name="connsiteX41" fmla="*/ 2590800 w 3784600"/>
                    <a:gd name="connsiteY41" fmla="*/ 123825 h 473871"/>
                    <a:gd name="connsiteX42" fmla="*/ 2657475 w 3784600"/>
                    <a:gd name="connsiteY42" fmla="*/ 133350 h 473871"/>
                    <a:gd name="connsiteX43" fmla="*/ 2765425 w 3784600"/>
                    <a:gd name="connsiteY43" fmla="*/ 161925 h 473871"/>
                    <a:gd name="connsiteX44" fmla="*/ 2806700 w 3784600"/>
                    <a:gd name="connsiteY44" fmla="*/ 133350 h 473871"/>
                    <a:gd name="connsiteX45" fmla="*/ 2889250 w 3784600"/>
                    <a:gd name="connsiteY45" fmla="*/ 130175 h 473871"/>
                    <a:gd name="connsiteX46" fmla="*/ 3032125 w 3784600"/>
                    <a:gd name="connsiteY46" fmla="*/ 98425 h 473871"/>
                    <a:gd name="connsiteX47" fmla="*/ 3086100 w 3784600"/>
                    <a:gd name="connsiteY47" fmla="*/ 101600 h 473871"/>
                    <a:gd name="connsiteX48" fmla="*/ 3121025 w 3784600"/>
                    <a:gd name="connsiteY48" fmla="*/ 47625 h 473871"/>
                    <a:gd name="connsiteX49" fmla="*/ 3162300 w 3784600"/>
                    <a:gd name="connsiteY49" fmla="*/ 31750 h 473871"/>
                    <a:gd name="connsiteX50" fmla="*/ 3209925 w 3784600"/>
                    <a:gd name="connsiteY50" fmla="*/ 31750 h 473871"/>
                    <a:gd name="connsiteX51" fmla="*/ 3257550 w 3784600"/>
                    <a:gd name="connsiteY51" fmla="*/ 73025 h 473871"/>
                    <a:gd name="connsiteX52" fmla="*/ 3286125 w 3784600"/>
                    <a:gd name="connsiteY52" fmla="*/ 98425 h 473871"/>
                    <a:gd name="connsiteX53" fmla="*/ 3343275 w 3784600"/>
                    <a:gd name="connsiteY53" fmla="*/ 19050 h 473871"/>
                    <a:gd name="connsiteX54" fmla="*/ 3365500 w 3784600"/>
                    <a:gd name="connsiteY54" fmla="*/ 34925 h 473871"/>
                    <a:gd name="connsiteX55" fmla="*/ 3403600 w 3784600"/>
                    <a:gd name="connsiteY55" fmla="*/ 60325 h 473871"/>
                    <a:gd name="connsiteX56" fmla="*/ 3470275 w 3784600"/>
                    <a:gd name="connsiteY56" fmla="*/ 63500 h 473871"/>
                    <a:gd name="connsiteX57" fmla="*/ 3533775 w 3784600"/>
                    <a:gd name="connsiteY57" fmla="*/ 50800 h 473871"/>
                    <a:gd name="connsiteX58" fmla="*/ 3533775 w 3784600"/>
                    <a:gd name="connsiteY58" fmla="*/ 50800 h 473871"/>
                    <a:gd name="connsiteX59" fmla="*/ 3600450 w 3784600"/>
                    <a:gd name="connsiteY59" fmla="*/ 60325 h 473871"/>
                    <a:gd name="connsiteX60" fmla="*/ 3648075 w 3784600"/>
                    <a:gd name="connsiteY60" fmla="*/ 50800 h 473871"/>
                    <a:gd name="connsiteX61" fmla="*/ 3683000 w 3784600"/>
                    <a:gd name="connsiteY61" fmla="*/ 34925 h 473871"/>
                    <a:gd name="connsiteX62" fmla="*/ 3683000 w 3784600"/>
                    <a:gd name="connsiteY62" fmla="*/ 31750 h 473871"/>
                    <a:gd name="connsiteX63" fmla="*/ 3698875 w 3784600"/>
                    <a:gd name="connsiteY63" fmla="*/ 31750 h 473871"/>
                    <a:gd name="connsiteX64" fmla="*/ 3756025 w 3784600"/>
                    <a:gd name="connsiteY64" fmla="*/ 31750 h 473871"/>
                    <a:gd name="connsiteX65" fmla="*/ 3768725 w 3784600"/>
                    <a:gd name="connsiteY65" fmla="*/ 31750 h 473871"/>
                    <a:gd name="connsiteX66" fmla="*/ 3784600 w 3784600"/>
                    <a:gd name="connsiteY66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22325 w 3784600"/>
                    <a:gd name="connsiteY23" fmla="*/ 69850 h 473871"/>
                    <a:gd name="connsiteX24" fmla="*/ 876300 w 3784600"/>
                    <a:gd name="connsiteY24" fmla="*/ 60325 h 473871"/>
                    <a:gd name="connsiteX25" fmla="*/ 1708150 w 3784600"/>
                    <a:gd name="connsiteY25" fmla="*/ 130175 h 473871"/>
                    <a:gd name="connsiteX26" fmla="*/ 1781175 w 3784600"/>
                    <a:gd name="connsiteY26" fmla="*/ 111125 h 473871"/>
                    <a:gd name="connsiteX27" fmla="*/ 1800225 w 3784600"/>
                    <a:gd name="connsiteY27" fmla="*/ 123825 h 473871"/>
                    <a:gd name="connsiteX28" fmla="*/ 1943100 w 3784600"/>
                    <a:gd name="connsiteY28" fmla="*/ 120650 h 473871"/>
                    <a:gd name="connsiteX29" fmla="*/ 2041525 w 3784600"/>
                    <a:gd name="connsiteY29" fmla="*/ 12700 h 473871"/>
                    <a:gd name="connsiteX30" fmla="*/ 2079625 w 3784600"/>
                    <a:gd name="connsiteY30" fmla="*/ 0 h 473871"/>
                    <a:gd name="connsiteX31" fmla="*/ 2152650 w 3784600"/>
                    <a:gd name="connsiteY31" fmla="*/ 0 h 473871"/>
                    <a:gd name="connsiteX32" fmla="*/ 2197100 w 3784600"/>
                    <a:gd name="connsiteY32" fmla="*/ 28575 h 473871"/>
                    <a:gd name="connsiteX33" fmla="*/ 2247900 w 3784600"/>
                    <a:gd name="connsiteY33" fmla="*/ 38100 h 473871"/>
                    <a:gd name="connsiteX34" fmla="*/ 2301875 w 3784600"/>
                    <a:gd name="connsiteY34" fmla="*/ 47625 h 473871"/>
                    <a:gd name="connsiteX35" fmla="*/ 2317750 w 3784600"/>
                    <a:gd name="connsiteY35" fmla="*/ 69850 h 473871"/>
                    <a:gd name="connsiteX36" fmla="*/ 2390775 w 3784600"/>
                    <a:gd name="connsiteY36" fmla="*/ 63500 h 473871"/>
                    <a:gd name="connsiteX37" fmla="*/ 2454275 w 3784600"/>
                    <a:gd name="connsiteY37" fmla="*/ 85725 h 473871"/>
                    <a:gd name="connsiteX38" fmla="*/ 2489200 w 3784600"/>
                    <a:gd name="connsiteY38" fmla="*/ 79375 h 473871"/>
                    <a:gd name="connsiteX39" fmla="*/ 2559050 w 3784600"/>
                    <a:gd name="connsiteY39" fmla="*/ 107950 h 473871"/>
                    <a:gd name="connsiteX40" fmla="*/ 2590800 w 3784600"/>
                    <a:gd name="connsiteY40" fmla="*/ 123825 h 473871"/>
                    <a:gd name="connsiteX41" fmla="*/ 2657475 w 3784600"/>
                    <a:gd name="connsiteY41" fmla="*/ 133350 h 473871"/>
                    <a:gd name="connsiteX42" fmla="*/ 2765425 w 3784600"/>
                    <a:gd name="connsiteY42" fmla="*/ 161925 h 473871"/>
                    <a:gd name="connsiteX43" fmla="*/ 2806700 w 3784600"/>
                    <a:gd name="connsiteY43" fmla="*/ 133350 h 473871"/>
                    <a:gd name="connsiteX44" fmla="*/ 2889250 w 3784600"/>
                    <a:gd name="connsiteY44" fmla="*/ 130175 h 473871"/>
                    <a:gd name="connsiteX45" fmla="*/ 3032125 w 3784600"/>
                    <a:gd name="connsiteY45" fmla="*/ 98425 h 473871"/>
                    <a:gd name="connsiteX46" fmla="*/ 3086100 w 3784600"/>
                    <a:gd name="connsiteY46" fmla="*/ 101600 h 473871"/>
                    <a:gd name="connsiteX47" fmla="*/ 3121025 w 3784600"/>
                    <a:gd name="connsiteY47" fmla="*/ 47625 h 473871"/>
                    <a:gd name="connsiteX48" fmla="*/ 3162300 w 3784600"/>
                    <a:gd name="connsiteY48" fmla="*/ 31750 h 473871"/>
                    <a:gd name="connsiteX49" fmla="*/ 3209925 w 3784600"/>
                    <a:gd name="connsiteY49" fmla="*/ 31750 h 473871"/>
                    <a:gd name="connsiteX50" fmla="*/ 3257550 w 3784600"/>
                    <a:gd name="connsiteY50" fmla="*/ 73025 h 473871"/>
                    <a:gd name="connsiteX51" fmla="*/ 3286125 w 3784600"/>
                    <a:gd name="connsiteY51" fmla="*/ 98425 h 473871"/>
                    <a:gd name="connsiteX52" fmla="*/ 3343275 w 3784600"/>
                    <a:gd name="connsiteY52" fmla="*/ 19050 h 473871"/>
                    <a:gd name="connsiteX53" fmla="*/ 3365500 w 3784600"/>
                    <a:gd name="connsiteY53" fmla="*/ 34925 h 473871"/>
                    <a:gd name="connsiteX54" fmla="*/ 3403600 w 3784600"/>
                    <a:gd name="connsiteY54" fmla="*/ 60325 h 473871"/>
                    <a:gd name="connsiteX55" fmla="*/ 3470275 w 3784600"/>
                    <a:gd name="connsiteY55" fmla="*/ 63500 h 473871"/>
                    <a:gd name="connsiteX56" fmla="*/ 3533775 w 3784600"/>
                    <a:gd name="connsiteY56" fmla="*/ 50800 h 473871"/>
                    <a:gd name="connsiteX57" fmla="*/ 3533775 w 3784600"/>
                    <a:gd name="connsiteY57" fmla="*/ 50800 h 473871"/>
                    <a:gd name="connsiteX58" fmla="*/ 3600450 w 3784600"/>
                    <a:gd name="connsiteY58" fmla="*/ 60325 h 473871"/>
                    <a:gd name="connsiteX59" fmla="*/ 3648075 w 3784600"/>
                    <a:gd name="connsiteY59" fmla="*/ 50800 h 473871"/>
                    <a:gd name="connsiteX60" fmla="*/ 3683000 w 3784600"/>
                    <a:gd name="connsiteY60" fmla="*/ 34925 h 473871"/>
                    <a:gd name="connsiteX61" fmla="*/ 3683000 w 3784600"/>
                    <a:gd name="connsiteY61" fmla="*/ 31750 h 473871"/>
                    <a:gd name="connsiteX62" fmla="*/ 3698875 w 3784600"/>
                    <a:gd name="connsiteY62" fmla="*/ 31750 h 473871"/>
                    <a:gd name="connsiteX63" fmla="*/ 3756025 w 3784600"/>
                    <a:gd name="connsiteY63" fmla="*/ 31750 h 473871"/>
                    <a:gd name="connsiteX64" fmla="*/ 3768725 w 3784600"/>
                    <a:gd name="connsiteY64" fmla="*/ 31750 h 473871"/>
                    <a:gd name="connsiteX65" fmla="*/ 3784600 w 3784600"/>
                    <a:gd name="connsiteY65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790575 w 3784600"/>
                    <a:gd name="connsiteY22" fmla="*/ 82550 h 473871"/>
                    <a:gd name="connsiteX23" fmla="*/ 876300 w 3784600"/>
                    <a:gd name="connsiteY23" fmla="*/ 60325 h 473871"/>
                    <a:gd name="connsiteX24" fmla="*/ 1708150 w 3784600"/>
                    <a:gd name="connsiteY24" fmla="*/ 130175 h 473871"/>
                    <a:gd name="connsiteX25" fmla="*/ 1781175 w 3784600"/>
                    <a:gd name="connsiteY25" fmla="*/ 111125 h 473871"/>
                    <a:gd name="connsiteX26" fmla="*/ 1800225 w 3784600"/>
                    <a:gd name="connsiteY26" fmla="*/ 123825 h 473871"/>
                    <a:gd name="connsiteX27" fmla="*/ 1943100 w 3784600"/>
                    <a:gd name="connsiteY27" fmla="*/ 120650 h 473871"/>
                    <a:gd name="connsiteX28" fmla="*/ 2041525 w 3784600"/>
                    <a:gd name="connsiteY28" fmla="*/ 12700 h 473871"/>
                    <a:gd name="connsiteX29" fmla="*/ 2079625 w 3784600"/>
                    <a:gd name="connsiteY29" fmla="*/ 0 h 473871"/>
                    <a:gd name="connsiteX30" fmla="*/ 2152650 w 3784600"/>
                    <a:gd name="connsiteY30" fmla="*/ 0 h 473871"/>
                    <a:gd name="connsiteX31" fmla="*/ 2197100 w 3784600"/>
                    <a:gd name="connsiteY31" fmla="*/ 28575 h 473871"/>
                    <a:gd name="connsiteX32" fmla="*/ 2247900 w 3784600"/>
                    <a:gd name="connsiteY32" fmla="*/ 38100 h 473871"/>
                    <a:gd name="connsiteX33" fmla="*/ 2301875 w 3784600"/>
                    <a:gd name="connsiteY33" fmla="*/ 47625 h 473871"/>
                    <a:gd name="connsiteX34" fmla="*/ 2317750 w 3784600"/>
                    <a:gd name="connsiteY34" fmla="*/ 69850 h 473871"/>
                    <a:gd name="connsiteX35" fmla="*/ 2390775 w 3784600"/>
                    <a:gd name="connsiteY35" fmla="*/ 63500 h 473871"/>
                    <a:gd name="connsiteX36" fmla="*/ 2454275 w 3784600"/>
                    <a:gd name="connsiteY36" fmla="*/ 85725 h 473871"/>
                    <a:gd name="connsiteX37" fmla="*/ 2489200 w 3784600"/>
                    <a:gd name="connsiteY37" fmla="*/ 79375 h 473871"/>
                    <a:gd name="connsiteX38" fmla="*/ 2559050 w 3784600"/>
                    <a:gd name="connsiteY38" fmla="*/ 107950 h 473871"/>
                    <a:gd name="connsiteX39" fmla="*/ 2590800 w 3784600"/>
                    <a:gd name="connsiteY39" fmla="*/ 123825 h 473871"/>
                    <a:gd name="connsiteX40" fmla="*/ 2657475 w 3784600"/>
                    <a:gd name="connsiteY40" fmla="*/ 133350 h 473871"/>
                    <a:gd name="connsiteX41" fmla="*/ 2765425 w 3784600"/>
                    <a:gd name="connsiteY41" fmla="*/ 161925 h 473871"/>
                    <a:gd name="connsiteX42" fmla="*/ 2806700 w 3784600"/>
                    <a:gd name="connsiteY42" fmla="*/ 133350 h 473871"/>
                    <a:gd name="connsiteX43" fmla="*/ 2889250 w 3784600"/>
                    <a:gd name="connsiteY43" fmla="*/ 130175 h 473871"/>
                    <a:gd name="connsiteX44" fmla="*/ 3032125 w 3784600"/>
                    <a:gd name="connsiteY44" fmla="*/ 98425 h 473871"/>
                    <a:gd name="connsiteX45" fmla="*/ 3086100 w 3784600"/>
                    <a:gd name="connsiteY45" fmla="*/ 101600 h 473871"/>
                    <a:gd name="connsiteX46" fmla="*/ 3121025 w 3784600"/>
                    <a:gd name="connsiteY46" fmla="*/ 47625 h 473871"/>
                    <a:gd name="connsiteX47" fmla="*/ 3162300 w 3784600"/>
                    <a:gd name="connsiteY47" fmla="*/ 31750 h 473871"/>
                    <a:gd name="connsiteX48" fmla="*/ 3209925 w 3784600"/>
                    <a:gd name="connsiteY48" fmla="*/ 31750 h 473871"/>
                    <a:gd name="connsiteX49" fmla="*/ 3257550 w 3784600"/>
                    <a:gd name="connsiteY49" fmla="*/ 73025 h 473871"/>
                    <a:gd name="connsiteX50" fmla="*/ 3286125 w 3784600"/>
                    <a:gd name="connsiteY50" fmla="*/ 98425 h 473871"/>
                    <a:gd name="connsiteX51" fmla="*/ 3343275 w 3784600"/>
                    <a:gd name="connsiteY51" fmla="*/ 19050 h 473871"/>
                    <a:gd name="connsiteX52" fmla="*/ 3365500 w 3784600"/>
                    <a:gd name="connsiteY52" fmla="*/ 34925 h 473871"/>
                    <a:gd name="connsiteX53" fmla="*/ 3403600 w 3784600"/>
                    <a:gd name="connsiteY53" fmla="*/ 60325 h 473871"/>
                    <a:gd name="connsiteX54" fmla="*/ 3470275 w 3784600"/>
                    <a:gd name="connsiteY54" fmla="*/ 63500 h 473871"/>
                    <a:gd name="connsiteX55" fmla="*/ 3533775 w 3784600"/>
                    <a:gd name="connsiteY55" fmla="*/ 50800 h 473871"/>
                    <a:gd name="connsiteX56" fmla="*/ 3533775 w 3784600"/>
                    <a:gd name="connsiteY56" fmla="*/ 50800 h 473871"/>
                    <a:gd name="connsiteX57" fmla="*/ 3600450 w 3784600"/>
                    <a:gd name="connsiteY57" fmla="*/ 60325 h 473871"/>
                    <a:gd name="connsiteX58" fmla="*/ 3648075 w 3784600"/>
                    <a:gd name="connsiteY58" fmla="*/ 50800 h 473871"/>
                    <a:gd name="connsiteX59" fmla="*/ 3683000 w 3784600"/>
                    <a:gd name="connsiteY59" fmla="*/ 34925 h 473871"/>
                    <a:gd name="connsiteX60" fmla="*/ 3683000 w 3784600"/>
                    <a:gd name="connsiteY60" fmla="*/ 31750 h 473871"/>
                    <a:gd name="connsiteX61" fmla="*/ 3698875 w 3784600"/>
                    <a:gd name="connsiteY61" fmla="*/ 31750 h 473871"/>
                    <a:gd name="connsiteX62" fmla="*/ 3756025 w 3784600"/>
                    <a:gd name="connsiteY62" fmla="*/ 31750 h 473871"/>
                    <a:gd name="connsiteX63" fmla="*/ 3768725 w 3784600"/>
                    <a:gd name="connsiteY63" fmla="*/ 31750 h 473871"/>
                    <a:gd name="connsiteX64" fmla="*/ 3784600 w 3784600"/>
                    <a:gd name="connsiteY64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876300 w 3784600"/>
                    <a:gd name="connsiteY22" fmla="*/ 60325 h 473871"/>
                    <a:gd name="connsiteX23" fmla="*/ 1708150 w 3784600"/>
                    <a:gd name="connsiteY23" fmla="*/ 130175 h 473871"/>
                    <a:gd name="connsiteX24" fmla="*/ 1781175 w 3784600"/>
                    <a:gd name="connsiteY24" fmla="*/ 111125 h 473871"/>
                    <a:gd name="connsiteX25" fmla="*/ 1800225 w 3784600"/>
                    <a:gd name="connsiteY25" fmla="*/ 123825 h 473871"/>
                    <a:gd name="connsiteX26" fmla="*/ 1943100 w 3784600"/>
                    <a:gd name="connsiteY26" fmla="*/ 120650 h 473871"/>
                    <a:gd name="connsiteX27" fmla="*/ 2041525 w 3784600"/>
                    <a:gd name="connsiteY27" fmla="*/ 12700 h 473871"/>
                    <a:gd name="connsiteX28" fmla="*/ 2079625 w 3784600"/>
                    <a:gd name="connsiteY28" fmla="*/ 0 h 473871"/>
                    <a:gd name="connsiteX29" fmla="*/ 2152650 w 3784600"/>
                    <a:gd name="connsiteY29" fmla="*/ 0 h 473871"/>
                    <a:gd name="connsiteX30" fmla="*/ 2197100 w 3784600"/>
                    <a:gd name="connsiteY30" fmla="*/ 28575 h 473871"/>
                    <a:gd name="connsiteX31" fmla="*/ 2247900 w 3784600"/>
                    <a:gd name="connsiteY31" fmla="*/ 38100 h 473871"/>
                    <a:gd name="connsiteX32" fmla="*/ 2301875 w 3784600"/>
                    <a:gd name="connsiteY32" fmla="*/ 47625 h 473871"/>
                    <a:gd name="connsiteX33" fmla="*/ 2317750 w 3784600"/>
                    <a:gd name="connsiteY33" fmla="*/ 69850 h 473871"/>
                    <a:gd name="connsiteX34" fmla="*/ 2390775 w 3784600"/>
                    <a:gd name="connsiteY34" fmla="*/ 63500 h 473871"/>
                    <a:gd name="connsiteX35" fmla="*/ 2454275 w 3784600"/>
                    <a:gd name="connsiteY35" fmla="*/ 85725 h 473871"/>
                    <a:gd name="connsiteX36" fmla="*/ 2489200 w 3784600"/>
                    <a:gd name="connsiteY36" fmla="*/ 79375 h 473871"/>
                    <a:gd name="connsiteX37" fmla="*/ 2559050 w 3784600"/>
                    <a:gd name="connsiteY37" fmla="*/ 107950 h 473871"/>
                    <a:gd name="connsiteX38" fmla="*/ 2590800 w 3784600"/>
                    <a:gd name="connsiteY38" fmla="*/ 123825 h 473871"/>
                    <a:gd name="connsiteX39" fmla="*/ 2657475 w 3784600"/>
                    <a:gd name="connsiteY39" fmla="*/ 133350 h 473871"/>
                    <a:gd name="connsiteX40" fmla="*/ 2765425 w 3784600"/>
                    <a:gd name="connsiteY40" fmla="*/ 161925 h 473871"/>
                    <a:gd name="connsiteX41" fmla="*/ 2806700 w 3784600"/>
                    <a:gd name="connsiteY41" fmla="*/ 133350 h 473871"/>
                    <a:gd name="connsiteX42" fmla="*/ 2889250 w 3784600"/>
                    <a:gd name="connsiteY42" fmla="*/ 130175 h 473871"/>
                    <a:gd name="connsiteX43" fmla="*/ 3032125 w 3784600"/>
                    <a:gd name="connsiteY43" fmla="*/ 98425 h 473871"/>
                    <a:gd name="connsiteX44" fmla="*/ 3086100 w 3784600"/>
                    <a:gd name="connsiteY44" fmla="*/ 101600 h 473871"/>
                    <a:gd name="connsiteX45" fmla="*/ 3121025 w 3784600"/>
                    <a:gd name="connsiteY45" fmla="*/ 47625 h 473871"/>
                    <a:gd name="connsiteX46" fmla="*/ 3162300 w 3784600"/>
                    <a:gd name="connsiteY46" fmla="*/ 31750 h 473871"/>
                    <a:gd name="connsiteX47" fmla="*/ 3209925 w 3784600"/>
                    <a:gd name="connsiteY47" fmla="*/ 31750 h 473871"/>
                    <a:gd name="connsiteX48" fmla="*/ 3257550 w 3784600"/>
                    <a:gd name="connsiteY48" fmla="*/ 73025 h 473871"/>
                    <a:gd name="connsiteX49" fmla="*/ 3286125 w 3784600"/>
                    <a:gd name="connsiteY49" fmla="*/ 98425 h 473871"/>
                    <a:gd name="connsiteX50" fmla="*/ 3343275 w 3784600"/>
                    <a:gd name="connsiteY50" fmla="*/ 19050 h 473871"/>
                    <a:gd name="connsiteX51" fmla="*/ 3365500 w 3784600"/>
                    <a:gd name="connsiteY51" fmla="*/ 34925 h 473871"/>
                    <a:gd name="connsiteX52" fmla="*/ 3403600 w 3784600"/>
                    <a:gd name="connsiteY52" fmla="*/ 60325 h 473871"/>
                    <a:gd name="connsiteX53" fmla="*/ 3470275 w 3784600"/>
                    <a:gd name="connsiteY53" fmla="*/ 63500 h 473871"/>
                    <a:gd name="connsiteX54" fmla="*/ 3533775 w 3784600"/>
                    <a:gd name="connsiteY54" fmla="*/ 50800 h 473871"/>
                    <a:gd name="connsiteX55" fmla="*/ 3533775 w 3784600"/>
                    <a:gd name="connsiteY55" fmla="*/ 50800 h 473871"/>
                    <a:gd name="connsiteX56" fmla="*/ 3600450 w 3784600"/>
                    <a:gd name="connsiteY56" fmla="*/ 60325 h 473871"/>
                    <a:gd name="connsiteX57" fmla="*/ 3648075 w 3784600"/>
                    <a:gd name="connsiteY57" fmla="*/ 50800 h 473871"/>
                    <a:gd name="connsiteX58" fmla="*/ 3683000 w 3784600"/>
                    <a:gd name="connsiteY58" fmla="*/ 34925 h 473871"/>
                    <a:gd name="connsiteX59" fmla="*/ 3683000 w 3784600"/>
                    <a:gd name="connsiteY59" fmla="*/ 31750 h 473871"/>
                    <a:gd name="connsiteX60" fmla="*/ 3698875 w 3784600"/>
                    <a:gd name="connsiteY60" fmla="*/ 31750 h 473871"/>
                    <a:gd name="connsiteX61" fmla="*/ 3756025 w 3784600"/>
                    <a:gd name="connsiteY61" fmla="*/ 31750 h 473871"/>
                    <a:gd name="connsiteX62" fmla="*/ 3768725 w 3784600"/>
                    <a:gd name="connsiteY62" fmla="*/ 31750 h 473871"/>
                    <a:gd name="connsiteX63" fmla="*/ 3784600 w 3784600"/>
                    <a:gd name="connsiteY63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876300 w 3784600"/>
                    <a:gd name="connsiteY22" fmla="*/ 60325 h 473871"/>
                    <a:gd name="connsiteX23" fmla="*/ 1781175 w 3784600"/>
                    <a:gd name="connsiteY23" fmla="*/ 111125 h 473871"/>
                    <a:gd name="connsiteX24" fmla="*/ 1800225 w 3784600"/>
                    <a:gd name="connsiteY24" fmla="*/ 123825 h 473871"/>
                    <a:gd name="connsiteX25" fmla="*/ 1943100 w 3784600"/>
                    <a:gd name="connsiteY25" fmla="*/ 120650 h 473871"/>
                    <a:gd name="connsiteX26" fmla="*/ 2041525 w 3784600"/>
                    <a:gd name="connsiteY26" fmla="*/ 12700 h 473871"/>
                    <a:gd name="connsiteX27" fmla="*/ 2079625 w 3784600"/>
                    <a:gd name="connsiteY27" fmla="*/ 0 h 473871"/>
                    <a:gd name="connsiteX28" fmla="*/ 2152650 w 3784600"/>
                    <a:gd name="connsiteY28" fmla="*/ 0 h 473871"/>
                    <a:gd name="connsiteX29" fmla="*/ 2197100 w 3784600"/>
                    <a:gd name="connsiteY29" fmla="*/ 28575 h 473871"/>
                    <a:gd name="connsiteX30" fmla="*/ 2247900 w 3784600"/>
                    <a:gd name="connsiteY30" fmla="*/ 38100 h 473871"/>
                    <a:gd name="connsiteX31" fmla="*/ 2301875 w 3784600"/>
                    <a:gd name="connsiteY31" fmla="*/ 47625 h 473871"/>
                    <a:gd name="connsiteX32" fmla="*/ 2317750 w 3784600"/>
                    <a:gd name="connsiteY32" fmla="*/ 69850 h 473871"/>
                    <a:gd name="connsiteX33" fmla="*/ 2390775 w 3784600"/>
                    <a:gd name="connsiteY33" fmla="*/ 63500 h 473871"/>
                    <a:gd name="connsiteX34" fmla="*/ 2454275 w 3784600"/>
                    <a:gd name="connsiteY34" fmla="*/ 85725 h 473871"/>
                    <a:gd name="connsiteX35" fmla="*/ 2489200 w 3784600"/>
                    <a:gd name="connsiteY35" fmla="*/ 79375 h 473871"/>
                    <a:gd name="connsiteX36" fmla="*/ 2559050 w 3784600"/>
                    <a:gd name="connsiteY36" fmla="*/ 107950 h 473871"/>
                    <a:gd name="connsiteX37" fmla="*/ 2590800 w 3784600"/>
                    <a:gd name="connsiteY37" fmla="*/ 123825 h 473871"/>
                    <a:gd name="connsiteX38" fmla="*/ 2657475 w 3784600"/>
                    <a:gd name="connsiteY38" fmla="*/ 133350 h 473871"/>
                    <a:gd name="connsiteX39" fmla="*/ 2765425 w 3784600"/>
                    <a:gd name="connsiteY39" fmla="*/ 161925 h 473871"/>
                    <a:gd name="connsiteX40" fmla="*/ 2806700 w 3784600"/>
                    <a:gd name="connsiteY40" fmla="*/ 133350 h 473871"/>
                    <a:gd name="connsiteX41" fmla="*/ 2889250 w 3784600"/>
                    <a:gd name="connsiteY41" fmla="*/ 130175 h 473871"/>
                    <a:gd name="connsiteX42" fmla="*/ 3032125 w 3784600"/>
                    <a:gd name="connsiteY42" fmla="*/ 98425 h 473871"/>
                    <a:gd name="connsiteX43" fmla="*/ 3086100 w 3784600"/>
                    <a:gd name="connsiteY43" fmla="*/ 101600 h 473871"/>
                    <a:gd name="connsiteX44" fmla="*/ 3121025 w 3784600"/>
                    <a:gd name="connsiteY44" fmla="*/ 47625 h 473871"/>
                    <a:gd name="connsiteX45" fmla="*/ 3162300 w 3784600"/>
                    <a:gd name="connsiteY45" fmla="*/ 31750 h 473871"/>
                    <a:gd name="connsiteX46" fmla="*/ 3209925 w 3784600"/>
                    <a:gd name="connsiteY46" fmla="*/ 31750 h 473871"/>
                    <a:gd name="connsiteX47" fmla="*/ 3257550 w 3784600"/>
                    <a:gd name="connsiteY47" fmla="*/ 73025 h 473871"/>
                    <a:gd name="connsiteX48" fmla="*/ 3286125 w 3784600"/>
                    <a:gd name="connsiteY48" fmla="*/ 98425 h 473871"/>
                    <a:gd name="connsiteX49" fmla="*/ 3343275 w 3784600"/>
                    <a:gd name="connsiteY49" fmla="*/ 19050 h 473871"/>
                    <a:gd name="connsiteX50" fmla="*/ 3365500 w 3784600"/>
                    <a:gd name="connsiteY50" fmla="*/ 34925 h 473871"/>
                    <a:gd name="connsiteX51" fmla="*/ 3403600 w 3784600"/>
                    <a:gd name="connsiteY51" fmla="*/ 60325 h 473871"/>
                    <a:gd name="connsiteX52" fmla="*/ 3470275 w 3784600"/>
                    <a:gd name="connsiteY52" fmla="*/ 63500 h 473871"/>
                    <a:gd name="connsiteX53" fmla="*/ 3533775 w 3784600"/>
                    <a:gd name="connsiteY53" fmla="*/ 50800 h 473871"/>
                    <a:gd name="connsiteX54" fmla="*/ 3533775 w 3784600"/>
                    <a:gd name="connsiteY54" fmla="*/ 50800 h 473871"/>
                    <a:gd name="connsiteX55" fmla="*/ 3600450 w 3784600"/>
                    <a:gd name="connsiteY55" fmla="*/ 60325 h 473871"/>
                    <a:gd name="connsiteX56" fmla="*/ 3648075 w 3784600"/>
                    <a:gd name="connsiteY56" fmla="*/ 50800 h 473871"/>
                    <a:gd name="connsiteX57" fmla="*/ 3683000 w 3784600"/>
                    <a:gd name="connsiteY57" fmla="*/ 34925 h 473871"/>
                    <a:gd name="connsiteX58" fmla="*/ 3683000 w 3784600"/>
                    <a:gd name="connsiteY58" fmla="*/ 31750 h 473871"/>
                    <a:gd name="connsiteX59" fmla="*/ 3698875 w 3784600"/>
                    <a:gd name="connsiteY59" fmla="*/ 31750 h 473871"/>
                    <a:gd name="connsiteX60" fmla="*/ 3756025 w 3784600"/>
                    <a:gd name="connsiteY60" fmla="*/ 31750 h 473871"/>
                    <a:gd name="connsiteX61" fmla="*/ 3768725 w 3784600"/>
                    <a:gd name="connsiteY61" fmla="*/ 31750 h 473871"/>
                    <a:gd name="connsiteX62" fmla="*/ 3784600 w 3784600"/>
                    <a:gd name="connsiteY62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876300 w 3784600"/>
                    <a:gd name="connsiteY22" fmla="*/ 60325 h 473871"/>
                    <a:gd name="connsiteX23" fmla="*/ 1800225 w 3784600"/>
                    <a:gd name="connsiteY23" fmla="*/ 123825 h 473871"/>
                    <a:gd name="connsiteX24" fmla="*/ 1943100 w 3784600"/>
                    <a:gd name="connsiteY24" fmla="*/ 120650 h 473871"/>
                    <a:gd name="connsiteX25" fmla="*/ 2041525 w 3784600"/>
                    <a:gd name="connsiteY25" fmla="*/ 12700 h 473871"/>
                    <a:gd name="connsiteX26" fmla="*/ 2079625 w 3784600"/>
                    <a:gd name="connsiteY26" fmla="*/ 0 h 473871"/>
                    <a:gd name="connsiteX27" fmla="*/ 2152650 w 3784600"/>
                    <a:gd name="connsiteY27" fmla="*/ 0 h 473871"/>
                    <a:gd name="connsiteX28" fmla="*/ 2197100 w 3784600"/>
                    <a:gd name="connsiteY28" fmla="*/ 28575 h 473871"/>
                    <a:gd name="connsiteX29" fmla="*/ 2247900 w 3784600"/>
                    <a:gd name="connsiteY29" fmla="*/ 38100 h 473871"/>
                    <a:gd name="connsiteX30" fmla="*/ 2301875 w 3784600"/>
                    <a:gd name="connsiteY30" fmla="*/ 47625 h 473871"/>
                    <a:gd name="connsiteX31" fmla="*/ 2317750 w 3784600"/>
                    <a:gd name="connsiteY31" fmla="*/ 69850 h 473871"/>
                    <a:gd name="connsiteX32" fmla="*/ 2390775 w 3784600"/>
                    <a:gd name="connsiteY32" fmla="*/ 63500 h 473871"/>
                    <a:gd name="connsiteX33" fmla="*/ 2454275 w 3784600"/>
                    <a:gd name="connsiteY33" fmla="*/ 85725 h 473871"/>
                    <a:gd name="connsiteX34" fmla="*/ 2489200 w 3784600"/>
                    <a:gd name="connsiteY34" fmla="*/ 79375 h 473871"/>
                    <a:gd name="connsiteX35" fmla="*/ 2559050 w 3784600"/>
                    <a:gd name="connsiteY35" fmla="*/ 107950 h 473871"/>
                    <a:gd name="connsiteX36" fmla="*/ 2590800 w 3784600"/>
                    <a:gd name="connsiteY36" fmla="*/ 123825 h 473871"/>
                    <a:gd name="connsiteX37" fmla="*/ 2657475 w 3784600"/>
                    <a:gd name="connsiteY37" fmla="*/ 133350 h 473871"/>
                    <a:gd name="connsiteX38" fmla="*/ 2765425 w 3784600"/>
                    <a:gd name="connsiteY38" fmla="*/ 161925 h 473871"/>
                    <a:gd name="connsiteX39" fmla="*/ 2806700 w 3784600"/>
                    <a:gd name="connsiteY39" fmla="*/ 133350 h 473871"/>
                    <a:gd name="connsiteX40" fmla="*/ 2889250 w 3784600"/>
                    <a:gd name="connsiteY40" fmla="*/ 130175 h 473871"/>
                    <a:gd name="connsiteX41" fmla="*/ 3032125 w 3784600"/>
                    <a:gd name="connsiteY41" fmla="*/ 98425 h 473871"/>
                    <a:gd name="connsiteX42" fmla="*/ 3086100 w 3784600"/>
                    <a:gd name="connsiteY42" fmla="*/ 101600 h 473871"/>
                    <a:gd name="connsiteX43" fmla="*/ 3121025 w 3784600"/>
                    <a:gd name="connsiteY43" fmla="*/ 47625 h 473871"/>
                    <a:gd name="connsiteX44" fmla="*/ 3162300 w 3784600"/>
                    <a:gd name="connsiteY44" fmla="*/ 31750 h 473871"/>
                    <a:gd name="connsiteX45" fmla="*/ 3209925 w 3784600"/>
                    <a:gd name="connsiteY45" fmla="*/ 31750 h 473871"/>
                    <a:gd name="connsiteX46" fmla="*/ 3257550 w 3784600"/>
                    <a:gd name="connsiteY46" fmla="*/ 73025 h 473871"/>
                    <a:gd name="connsiteX47" fmla="*/ 3286125 w 3784600"/>
                    <a:gd name="connsiteY47" fmla="*/ 98425 h 473871"/>
                    <a:gd name="connsiteX48" fmla="*/ 3343275 w 3784600"/>
                    <a:gd name="connsiteY48" fmla="*/ 19050 h 473871"/>
                    <a:gd name="connsiteX49" fmla="*/ 3365500 w 3784600"/>
                    <a:gd name="connsiteY49" fmla="*/ 34925 h 473871"/>
                    <a:gd name="connsiteX50" fmla="*/ 3403600 w 3784600"/>
                    <a:gd name="connsiteY50" fmla="*/ 60325 h 473871"/>
                    <a:gd name="connsiteX51" fmla="*/ 3470275 w 3784600"/>
                    <a:gd name="connsiteY51" fmla="*/ 63500 h 473871"/>
                    <a:gd name="connsiteX52" fmla="*/ 3533775 w 3784600"/>
                    <a:gd name="connsiteY52" fmla="*/ 50800 h 473871"/>
                    <a:gd name="connsiteX53" fmla="*/ 3533775 w 3784600"/>
                    <a:gd name="connsiteY53" fmla="*/ 50800 h 473871"/>
                    <a:gd name="connsiteX54" fmla="*/ 3600450 w 3784600"/>
                    <a:gd name="connsiteY54" fmla="*/ 60325 h 473871"/>
                    <a:gd name="connsiteX55" fmla="*/ 3648075 w 3784600"/>
                    <a:gd name="connsiteY55" fmla="*/ 50800 h 473871"/>
                    <a:gd name="connsiteX56" fmla="*/ 3683000 w 3784600"/>
                    <a:gd name="connsiteY56" fmla="*/ 34925 h 473871"/>
                    <a:gd name="connsiteX57" fmla="*/ 3683000 w 3784600"/>
                    <a:gd name="connsiteY57" fmla="*/ 31750 h 473871"/>
                    <a:gd name="connsiteX58" fmla="*/ 3698875 w 3784600"/>
                    <a:gd name="connsiteY58" fmla="*/ 31750 h 473871"/>
                    <a:gd name="connsiteX59" fmla="*/ 3756025 w 3784600"/>
                    <a:gd name="connsiteY59" fmla="*/ 31750 h 473871"/>
                    <a:gd name="connsiteX60" fmla="*/ 3768725 w 3784600"/>
                    <a:gd name="connsiteY60" fmla="*/ 31750 h 473871"/>
                    <a:gd name="connsiteX61" fmla="*/ 3784600 w 3784600"/>
                    <a:gd name="connsiteY61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787400 w 3784600"/>
                    <a:gd name="connsiteY21" fmla="*/ 114300 h 473871"/>
                    <a:gd name="connsiteX22" fmla="*/ 1800225 w 3784600"/>
                    <a:gd name="connsiteY22" fmla="*/ 123825 h 473871"/>
                    <a:gd name="connsiteX23" fmla="*/ 1943100 w 3784600"/>
                    <a:gd name="connsiteY23" fmla="*/ 120650 h 473871"/>
                    <a:gd name="connsiteX24" fmla="*/ 2041525 w 3784600"/>
                    <a:gd name="connsiteY24" fmla="*/ 12700 h 473871"/>
                    <a:gd name="connsiteX25" fmla="*/ 2079625 w 3784600"/>
                    <a:gd name="connsiteY25" fmla="*/ 0 h 473871"/>
                    <a:gd name="connsiteX26" fmla="*/ 2152650 w 3784600"/>
                    <a:gd name="connsiteY26" fmla="*/ 0 h 473871"/>
                    <a:gd name="connsiteX27" fmla="*/ 2197100 w 3784600"/>
                    <a:gd name="connsiteY27" fmla="*/ 28575 h 473871"/>
                    <a:gd name="connsiteX28" fmla="*/ 2247900 w 3784600"/>
                    <a:gd name="connsiteY28" fmla="*/ 38100 h 473871"/>
                    <a:gd name="connsiteX29" fmla="*/ 2301875 w 3784600"/>
                    <a:gd name="connsiteY29" fmla="*/ 47625 h 473871"/>
                    <a:gd name="connsiteX30" fmla="*/ 2317750 w 3784600"/>
                    <a:gd name="connsiteY30" fmla="*/ 69850 h 473871"/>
                    <a:gd name="connsiteX31" fmla="*/ 2390775 w 3784600"/>
                    <a:gd name="connsiteY31" fmla="*/ 63500 h 473871"/>
                    <a:gd name="connsiteX32" fmla="*/ 2454275 w 3784600"/>
                    <a:gd name="connsiteY32" fmla="*/ 85725 h 473871"/>
                    <a:gd name="connsiteX33" fmla="*/ 2489200 w 3784600"/>
                    <a:gd name="connsiteY33" fmla="*/ 79375 h 473871"/>
                    <a:gd name="connsiteX34" fmla="*/ 2559050 w 3784600"/>
                    <a:gd name="connsiteY34" fmla="*/ 107950 h 473871"/>
                    <a:gd name="connsiteX35" fmla="*/ 2590800 w 3784600"/>
                    <a:gd name="connsiteY35" fmla="*/ 123825 h 473871"/>
                    <a:gd name="connsiteX36" fmla="*/ 2657475 w 3784600"/>
                    <a:gd name="connsiteY36" fmla="*/ 133350 h 473871"/>
                    <a:gd name="connsiteX37" fmla="*/ 2765425 w 3784600"/>
                    <a:gd name="connsiteY37" fmla="*/ 161925 h 473871"/>
                    <a:gd name="connsiteX38" fmla="*/ 2806700 w 3784600"/>
                    <a:gd name="connsiteY38" fmla="*/ 133350 h 473871"/>
                    <a:gd name="connsiteX39" fmla="*/ 2889250 w 3784600"/>
                    <a:gd name="connsiteY39" fmla="*/ 130175 h 473871"/>
                    <a:gd name="connsiteX40" fmla="*/ 3032125 w 3784600"/>
                    <a:gd name="connsiteY40" fmla="*/ 98425 h 473871"/>
                    <a:gd name="connsiteX41" fmla="*/ 3086100 w 3784600"/>
                    <a:gd name="connsiteY41" fmla="*/ 101600 h 473871"/>
                    <a:gd name="connsiteX42" fmla="*/ 3121025 w 3784600"/>
                    <a:gd name="connsiteY42" fmla="*/ 47625 h 473871"/>
                    <a:gd name="connsiteX43" fmla="*/ 3162300 w 3784600"/>
                    <a:gd name="connsiteY43" fmla="*/ 31750 h 473871"/>
                    <a:gd name="connsiteX44" fmla="*/ 3209925 w 3784600"/>
                    <a:gd name="connsiteY44" fmla="*/ 31750 h 473871"/>
                    <a:gd name="connsiteX45" fmla="*/ 3257550 w 3784600"/>
                    <a:gd name="connsiteY45" fmla="*/ 73025 h 473871"/>
                    <a:gd name="connsiteX46" fmla="*/ 3286125 w 3784600"/>
                    <a:gd name="connsiteY46" fmla="*/ 98425 h 473871"/>
                    <a:gd name="connsiteX47" fmla="*/ 3343275 w 3784600"/>
                    <a:gd name="connsiteY47" fmla="*/ 19050 h 473871"/>
                    <a:gd name="connsiteX48" fmla="*/ 3365500 w 3784600"/>
                    <a:gd name="connsiteY48" fmla="*/ 34925 h 473871"/>
                    <a:gd name="connsiteX49" fmla="*/ 3403600 w 3784600"/>
                    <a:gd name="connsiteY49" fmla="*/ 60325 h 473871"/>
                    <a:gd name="connsiteX50" fmla="*/ 3470275 w 3784600"/>
                    <a:gd name="connsiteY50" fmla="*/ 63500 h 473871"/>
                    <a:gd name="connsiteX51" fmla="*/ 3533775 w 3784600"/>
                    <a:gd name="connsiteY51" fmla="*/ 50800 h 473871"/>
                    <a:gd name="connsiteX52" fmla="*/ 3533775 w 3784600"/>
                    <a:gd name="connsiteY52" fmla="*/ 50800 h 473871"/>
                    <a:gd name="connsiteX53" fmla="*/ 3600450 w 3784600"/>
                    <a:gd name="connsiteY53" fmla="*/ 60325 h 473871"/>
                    <a:gd name="connsiteX54" fmla="*/ 3648075 w 3784600"/>
                    <a:gd name="connsiteY54" fmla="*/ 50800 h 473871"/>
                    <a:gd name="connsiteX55" fmla="*/ 3683000 w 3784600"/>
                    <a:gd name="connsiteY55" fmla="*/ 34925 h 473871"/>
                    <a:gd name="connsiteX56" fmla="*/ 3683000 w 3784600"/>
                    <a:gd name="connsiteY56" fmla="*/ 31750 h 473871"/>
                    <a:gd name="connsiteX57" fmla="*/ 3698875 w 3784600"/>
                    <a:gd name="connsiteY57" fmla="*/ 31750 h 473871"/>
                    <a:gd name="connsiteX58" fmla="*/ 3756025 w 3784600"/>
                    <a:gd name="connsiteY58" fmla="*/ 31750 h 473871"/>
                    <a:gd name="connsiteX59" fmla="*/ 3768725 w 3784600"/>
                    <a:gd name="connsiteY59" fmla="*/ 31750 h 473871"/>
                    <a:gd name="connsiteX60" fmla="*/ 3784600 w 3784600"/>
                    <a:gd name="connsiteY60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771525 w 3784600"/>
                    <a:gd name="connsiteY20" fmla="*/ 130175 h 473871"/>
                    <a:gd name="connsiteX21" fmla="*/ 1800225 w 3784600"/>
                    <a:gd name="connsiteY21" fmla="*/ 123825 h 473871"/>
                    <a:gd name="connsiteX22" fmla="*/ 1943100 w 3784600"/>
                    <a:gd name="connsiteY22" fmla="*/ 120650 h 473871"/>
                    <a:gd name="connsiteX23" fmla="*/ 2041525 w 3784600"/>
                    <a:gd name="connsiteY23" fmla="*/ 12700 h 473871"/>
                    <a:gd name="connsiteX24" fmla="*/ 2079625 w 3784600"/>
                    <a:gd name="connsiteY24" fmla="*/ 0 h 473871"/>
                    <a:gd name="connsiteX25" fmla="*/ 2152650 w 3784600"/>
                    <a:gd name="connsiteY25" fmla="*/ 0 h 473871"/>
                    <a:gd name="connsiteX26" fmla="*/ 2197100 w 3784600"/>
                    <a:gd name="connsiteY26" fmla="*/ 28575 h 473871"/>
                    <a:gd name="connsiteX27" fmla="*/ 2247900 w 3784600"/>
                    <a:gd name="connsiteY27" fmla="*/ 38100 h 473871"/>
                    <a:gd name="connsiteX28" fmla="*/ 2301875 w 3784600"/>
                    <a:gd name="connsiteY28" fmla="*/ 47625 h 473871"/>
                    <a:gd name="connsiteX29" fmla="*/ 2317750 w 3784600"/>
                    <a:gd name="connsiteY29" fmla="*/ 69850 h 473871"/>
                    <a:gd name="connsiteX30" fmla="*/ 2390775 w 3784600"/>
                    <a:gd name="connsiteY30" fmla="*/ 63500 h 473871"/>
                    <a:gd name="connsiteX31" fmla="*/ 2454275 w 3784600"/>
                    <a:gd name="connsiteY31" fmla="*/ 85725 h 473871"/>
                    <a:gd name="connsiteX32" fmla="*/ 2489200 w 3784600"/>
                    <a:gd name="connsiteY32" fmla="*/ 79375 h 473871"/>
                    <a:gd name="connsiteX33" fmla="*/ 2559050 w 3784600"/>
                    <a:gd name="connsiteY33" fmla="*/ 107950 h 473871"/>
                    <a:gd name="connsiteX34" fmla="*/ 2590800 w 3784600"/>
                    <a:gd name="connsiteY34" fmla="*/ 123825 h 473871"/>
                    <a:gd name="connsiteX35" fmla="*/ 2657475 w 3784600"/>
                    <a:gd name="connsiteY35" fmla="*/ 133350 h 473871"/>
                    <a:gd name="connsiteX36" fmla="*/ 2765425 w 3784600"/>
                    <a:gd name="connsiteY36" fmla="*/ 161925 h 473871"/>
                    <a:gd name="connsiteX37" fmla="*/ 2806700 w 3784600"/>
                    <a:gd name="connsiteY37" fmla="*/ 133350 h 473871"/>
                    <a:gd name="connsiteX38" fmla="*/ 2889250 w 3784600"/>
                    <a:gd name="connsiteY38" fmla="*/ 130175 h 473871"/>
                    <a:gd name="connsiteX39" fmla="*/ 3032125 w 3784600"/>
                    <a:gd name="connsiteY39" fmla="*/ 98425 h 473871"/>
                    <a:gd name="connsiteX40" fmla="*/ 3086100 w 3784600"/>
                    <a:gd name="connsiteY40" fmla="*/ 101600 h 473871"/>
                    <a:gd name="connsiteX41" fmla="*/ 3121025 w 3784600"/>
                    <a:gd name="connsiteY41" fmla="*/ 47625 h 473871"/>
                    <a:gd name="connsiteX42" fmla="*/ 3162300 w 3784600"/>
                    <a:gd name="connsiteY42" fmla="*/ 31750 h 473871"/>
                    <a:gd name="connsiteX43" fmla="*/ 3209925 w 3784600"/>
                    <a:gd name="connsiteY43" fmla="*/ 31750 h 473871"/>
                    <a:gd name="connsiteX44" fmla="*/ 3257550 w 3784600"/>
                    <a:gd name="connsiteY44" fmla="*/ 73025 h 473871"/>
                    <a:gd name="connsiteX45" fmla="*/ 3286125 w 3784600"/>
                    <a:gd name="connsiteY45" fmla="*/ 98425 h 473871"/>
                    <a:gd name="connsiteX46" fmla="*/ 3343275 w 3784600"/>
                    <a:gd name="connsiteY46" fmla="*/ 19050 h 473871"/>
                    <a:gd name="connsiteX47" fmla="*/ 3365500 w 3784600"/>
                    <a:gd name="connsiteY47" fmla="*/ 34925 h 473871"/>
                    <a:gd name="connsiteX48" fmla="*/ 3403600 w 3784600"/>
                    <a:gd name="connsiteY48" fmla="*/ 60325 h 473871"/>
                    <a:gd name="connsiteX49" fmla="*/ 3470275 w 3784600"/>
                    <a:gd name="connsiteY49" fmla="*/ 63500 h 473871"/>
                    <a:gd name="connsiteX50" fmla="*/ 3533775 w 3784600"/>
                    <a:gd name="connsiteY50" fmla="*/ 50800 h 473871"/>
                    <a:gd name="connsiteX51" fmla="*/ 3533775 w 3784600"/>
                    <a:gd name="connsiteY51" fmla="*/ 50800 h 473871"/>
                    <a:gd name="connsiteX52" fmla="*/ 3600450 w 3784600"/>
                    <a:gd name="connsiteY52" fmla="*/ 60325 h 473871"/>
                    <a:gd name="connsiteX53" fmla="*/ 3648075 w 3784600"/>
                    <a:gd name="connsiteY53" fmla="*/ 50800 h 473871"/>
                    <a:gd name="connsiteX54" fmla="*/ 3683000 w 3784600"/>
                    <a:gd name="connsiteY54" fmla="*/ 34925 h 473871"/>
                    <a:gd name="connsiteX55" fmla="*/ 3683000 w 3784600"/>
                    <a:gd name="connsiteY55" fmla="*/ 31750 h 473871"/>
                    <a:gd name="connsiteX56" fmla="*/ 3698875 w 3784600"/>
                    <a:gd name="connsiteY56" fmla="*/ 31750 h 473871"/>
                    <a:gd name="connsiteX57" fmla="*/ 3756025 w 3784600"/>
                    <a:gd name="connsiteY57" fmla="*/ 31750 h 473871"/>
                    <a:gd name="connsiteX58" fmla="*/ 3768725 w 3784600"/>
                    <a:gd name="connsiteY58" fmla="*/ 31750 h 473871"/>
                    <a:gd name="connsiteX59" fmla="*/ 3784600 w 3784600"/>
                    <a:gd name="connsiteY59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733425 w 3784600"/>
                    <a:gd name="connsiteY19" fmla="*/ 184150 h 473871"/>
                    <a:gd name="connsiteX20" fmla="*/ 1800225 w 3784600"/>
                    <a:gd name="connsiteY20" fmla="*/ 123825 h 473871"/>
                    <a:gd name="connsiteX21" fmla="*/ 1943100 w 3784600"/>
                    <a:gd name="connsiteY21" fmla="*/ 120650 h 473871"/>
                    <a:gd name="connsiteX22" fmla="*/ 2041525 w 3784600"/>
                    <a:gd name="connsiteY22" fmla="*/ 12700 h 473871"/>
                    <a:gd name="connsiteX23" fmla="*/ 2079625 w 3784600"/>
                    <a:gd name="connsiteY23" fmla="*/ 0 h 473871"/>
                    <a:gd name="connsiteX24" fmla="*/ 2152650 w 3784600"/>
                    <a:gd name="connsiteY24" fmla="*/ 0 h 473871"/>
                    <a:gd name="connsiteX25" fmla="*/ 2197100 w 3784600"/>
                    <a:gd name="connsiteY25" fmla="*/ 28575 h 473871"/>
                    <a:gd name="connsiteX26" fmla="*/ 2247900 w 3784600"/>
                    <a:gd name="connsiteY26" fmla="*/ 38100 h 473871"/>
                    <a:gd name="connsiteX27" fmla="*/ 2301875 w 3784600"/>
                    <a:gd name="connsiteY27" fmla="*/ 47625 h 473871"/>
                    <a:gd name="connsiteX28" fmla="*/ 2317750 w 3784600"/>
                    <a:gd name="connsiteY28" fmla="*/ 69850 h 473871"/>
                    <a:gd name="connsiteX29" fmla="*/ 2390775 w 3784600"/>
                    <a:gd name="connsiteY29" fmla="*/ 63500 h 473871"/>
                    <a:gd name="connsiteX30" fmla="*/ 2454275 w 3784600"/>
                    <a:gd name="connsiteY30" fmla="*/ 85725 h 473871"/>
                    <a:gd name="connsiteX31" fmla="*/ 2489200 w 3784600"/>
                    <a:gd name="connsiteY31" fmla="*/ 79375 h 473871"/>
                    <a:gd name="connsiteX32" fmla="*/ 2559050 w 3784600"/>
                    <a:gd name="connsiteY32" fmla="*/ 107950 h 473871"/>
                    <a:gd name="connsiteX33" fmla="*/ 2590800 w 3784600"/>
                    <a:gd name="connsiteY33" fmla="*/ 123825 h 473871"/>
                    <a:gd name="connsiteX34" fmla="*/ 2657475 w 3784600"/>
                    <a:gd name="connsiteY34" fmla="*/ 133350 h 473871"/>
                    <a:gd name="connsiteX35" fmla="*/ 2765425 w 3784600"/>
                    <a:gd name="connsiteY35" fmla="*/ 161925 h 473871"/>
                    <a:gd name="connsiteX36" fmla="*/ 2806700 w 3784600"/>
                    <a:gd name="connsiteY36" fmla="*/ 133350 h 473871"/>
                    <a:gd name="connsiteX37" fmla="*/ 2889250 w 3784600"/>
                    <a:gd name="connsiteY37" fmla="*/ 130175 h 473871"/>
                    <a:gd name="connsiteX38" fmla="*/ 3032125 w 3784600"/>
                    <a:gd name="connsiteY38" fmla="*/ 98425 h 473871"/>
                    <a:gd name="connsiteX39" fmla="*/ 3086100 w 3784600"/>
                    <a:gd name="connsiteY39" fmla="*/ 101600 h 473871"/>
                    <a:gd name="connsiteX40" fmla="*/ 3121025 w 3784600"/>
                    <a:gd name="connsiteY40" fmla="*/ 47625 h 473871"/>
                    <a:gd name="connsiteX41" fmla="*/ 3162300 w 3784600"/>
                    <a:gd name="connsiteY41" fmla="*/ 31750 h 473871"/>
                    <a:gd name="connsiteX42" fmla="*/ 3209925 w 3784600"/>
                    <a:gd name="connsiteY42" fmla="*/ 31750 h 473871"/>
                    <a:gd name="connsiteX43" fmla="*/ 3257550 w 3784600"/>
                    <a:gd name="connsiteY43" fmla="*/ 73025 h 473871"/>
                    <a:gd name="connsiteX44" fmla="*/ 3286125 w 3784600"/>
                    <a:gd name="connsiteY44" fmla="*/ 98425 h 473871"/>
                    <a:gd name="connsiteX45" fmla="*/ 3343275 w 3784600"/>
                    <a:gd name="connsiteY45" fmla="*/ 19050 h 473871"/>
                    <a:gd name="connsiteX46" fmla="*/ 3365500 w 3784600"/>
                    <a:gd name="connsiteY46" fmla="*/ 34925 h 473871"/>
                    <a:gd name="connsiteX47" fmla="*/ 3403600 w 3784600"/>
                    <a:gd name="connsiteY47" fmla="*/ 60325 h 473871"/>
                    <a:gd name="connsiteX48" fmla="*/ 3470275 w 3784600"/>
                    <a:gd name="connsiteY48" fmla="*/ 63500 h 473871"/>
                    <a:gd name="connsiteX49" fmla="*/ 3533775 w 3784600"/>
                    <a:gd name="connsiteY49" fmla="*/ 50800 h 473871"/>
                    <a:gd name="connsiteX50" fmla="*/ 3533775 w 3784600"/>
                    <a:gd name="connsiteY50" fmla="*/ 50800 h 473871"/>
                    <a:gd name="connsiteX51" fmla="*/ 3600450 w 3784600"/>
                    <a:gd name="connsiteY51" fmla="*/ 60325 h 473871"/>
                    <a:gd name="connsiteX52" fmla="*/ 3648075 w 3784600"/>
                    <a:gd name="connsiteY52" fmla="*/ 50800 h 473871"/>
                    <a:gd name="connsiteX53" fmla="*/ 3683000 w 3784600"/>
                    <a:gd name="connsiteY53" fmla="*/ 34925 h 473871"/>
                    <a:gd name="connsiteX54" fmla="*/ 3683000 w 3784600"/>
                    <a:gd name="connsiteY54" fmla="*/ 31750 h 473871"/>
                    <a:gd name="connsiteX55" fmla="*/ 3698875 w 3784600"/>
                    <a:gd name="connsiteY55" fmla="*/ 31750 h 473871"/>
                    <a:gd name="connsiteX56" fmla="*/ 3756025 w 3784600"/>
                    <a:gd name="connsiteY56" fmla="*/ 31750 h 473871"/>
                    <a:gd name="connsiteX57" fmla="*/ 3768725 w 3784600"/>
                    <a:gd name="connsiteY57" fmla="*/ 31750 h 473871"/>
                    <a:gd name="connsiteX58" fmla="*/ 3784600 w 3784600"/>
                    <a:gd name="connsiteY58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708025 w 3784600"/>
                    <a:gd name="connsiteY18" fmla="*/ 177800 h 473871"/>
                    <a:gd name="connsiteX19" fmla="*/ 1800225 w 3784600"/>
                    <a:gd name="connsiteY19" fmla="*/ 123825 h 473871"/>
                    <a:gd name="connsiteX20" fmla="*/ 1943100 w 3784600"/>
                    <a:gd name="connsiteY20" fmla="*/ 120650 h 473871"/>
                    <a:gd name="connsiteX21" fmla="*/ 2041525 w 3784600"/>
                    <a:gd name="connsiteY21" fmla="*/ 12700 h 473871"/>
                    <a:gd name="connsiteX22" fmla="*/ 2079625 w 3784600"/>
                    <a:gd name="connsiteY22" fmla="*/ 0 h 473871"/>
                    <a:gd name="connsiteX23" fmla="*/ 2152650 w 3784600"/>
                    <a:gd name="connsiteY23" fmla="*/ 0 h 473871"/>
                    <a:gd name="connsiteX24" fmla="*/ 2197100 w 3784600"/>
                    <a:gd name="connsiteY24" fmla="*/ 28575 h 473871"/>
                    <a:gd name="connsiteX25" fmla="*/ 2247900 w 3784600"/>
                    <a:gd name="connsiteY25" fmla="*/ 38100 h 473871"/>
                    <a:gd name="connsiteX26" fmla="*/ 2301875 w 3784600"/>
                    <a:gd name="connsiteY26" fmla="*/ 47625 h 473871"/>
                    <a:gd name="connsiteX27" fmla="*/ 2317750 w 3784600"/>
                    <a:gd name="connsiteY27" fmla="*/ 69850 h 473871"/>
                    <a:gd name="connsiteX28" fmla="*/ 2390775 w 3784600"/>
                    <a:gd name="connsiteY28" fmla="*/ 63500 h 473871"/>
                    <a:gd name="connsiteX29" fmla="*/ 2454275 w 3784600"/>
                    <a:gd name="connsiteY29" fmla="*/ 85725 h 473871"/>
                    <a:gd name="connsiteX30" fmla="*/ 2489200 w 3784600"/>
                    <a:gd name="connsiteY30" fmla="*/ 79375 h 473871"/>
                    <a:gd name="connsiteX31" fmla="*/ 2559050 w 3784600"/>
                    <a:gd name="connsiteY31" fmla="*/ 107950 h 473871"/>
                    <a:gd name="connsiteX32" fmla="*/ 2590800 w 3784600"/>
                    <a:gd name="connsiteY32" fmla="*/ 123825 h 473871"/>
                    <a:gd name="connsiteX33" fmla="*/ 2657475 w 3784600"/>
                    <a:gd name="connsiteY33" fmla="*/ 133350 h 473871"/>
                    <a:gd name="connsiteX34" fmla="*/ 2765425 w 3784600"/>
                    <a:gd name="connsiteY34" fmla="*/ 161925 h 473871"/>
                    <a:gd name="connsiteX35" fmla="*/ 2806700 w 3784600"/>
                    <a:gd name="connsiteY35" fmla="*/ 133350 h 473871"/>
                    <a:gd name="connsiteX36" fmla="*/ 2889250 w 3784600"/>
                    <a:gd name="connsiteY36" fmla="*/ 130175 h 473871"/>
                    <a:gd name="connsiteX37" fmla="*/ 3032125 w 3784600"/>
                    <a:gd name="connsiteY37" fmla="*/ 98425 h 473871"/>
                    <a:gd name="connsiteX38" fmla="*/ 3086100 w 3784600"/>
                    <a:gd name="connsiteY38" fmla="*/ 101600 h 473871"/>
                    <a:gd name="connsiteX39" fmla="*/ 3121025 w 3784600"/>
                    <a:gd name="connsiteY39" fmla="*/ 47625 h 473871"/>
                    <a:gd name="connsiteX40" fmla="*/ 3162300 w 3784600"/>
                    <a:gd name="connsiteY40" fmla="*/ 31750 h 473871"/>
                    <a:gd name="connsiteX41" fmla="*/ 3209925 w 3784600"/>
                    <a:gd name="connsiteY41" fmla="*/ 31750 h 473871"/>
                    <a:gd name="connsiteX42" fmla="*/ 3257550 w 3784600"/>
                    <a:gd name="connsiteY42" fmla="*/ 73025 h 473871"/>
                    <a:gd name="connsiteX43" fmla="*/ 3286125 w 3784600"/>
                    <a:gd name="connsiteY43" fmla="*/ 98425 h 473871"/>
                    <a:gd name="connsiteX44" fmla="*/ 3343275 w 3784600"/>
                    <a:gd name="connsiteY44" fmla="*/ 19050 h 473871"/>
                    <a:gd name="connsiteX45" fmla="*/ 3365500 w 3784600"/>
                    <a:gd name="connsiteY45" fmla="*/ 34925 h 473871"/>
                    <a:gd name="connsiteX46" fmla="*/ 3403600 w 3784600"/>
                    <a:gd name="connsiteY46" fmla="*/ 60325 h 473871"/>
                    <a:gd name="connsiteX47" fmla="*/ 3470275 w 3784600"/>
                    <a:gd name="connsiteY47" fmla="*/ 63500 h 473871"/>
                    <a:gd name="connsiteX48" fmla="*/ 3533775 w 3784600"/>
                    <a:gd name="connsiteY48" fmla="*/ 50800 h 473871"/>
                    <a:gd name="connsiteX49" fmla="*/ 3533775 w 3784600"/>
                    <a:gd name="connsiteY49" fmla="*/ 50800 h 473871"/>
                    <a:gd name="connsiteX50" fmla="*/ 3600450 w 3784600"/>
                    <a:gd name="connsiteY50" fmla="*/ 60325 h 473871"/>
                    <a:gd name="connsiteX51" fmla="*/ 3648075 w 3784600"/>
                    <a:gd name="connsiteY51" fmla="*/ 50800 h 473871"/>
                    <a:gd name="connsiteX52" fmla="*/ 3683000 w 3784600"/>
                    <a:gd name="connsiteY52" fmla="*/ 34925 h 473871"/>
                    <a:gd name="connsiteX53" fmla="*/ 3683000 w 3784600"/>
                    <a:gd name="connsiteY53" fmla="*/ 31750 h 473871"/>
                    <a:gd name="connsiteX54" fmla="*/ 3698875 w 3784600"/>
                    <a:gd name="connsiteY54" fmla="*/ 31750 h 473871"/>
                    <a:gd name="connsiteX55" fmla="*/ 3756025 w 3784600"/>
                    <a:gd name="connsiteY55" fmla="*/ 31750 h 473871"/>
                    <a:gd name="connsiteX56" fmla="*/ 3768725 w 3784600"/>
                    <a:gd name="connsiteY56" fmla="*/ 31750 h 473871"/>
                    <a:gd name="connsiteX57" fmla="*/ 3784600 w 3784600"/>
                    <a:gd name="connsiteY57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647700 w 3784600"/>
                    <a:gd name="connsiteY17" fmla="*/ 168275 h 473871"/>
                    <a:gd name="connsiteX18" fmla="*/ 1800225 w 3784600"/>
                    <a:gd name="connsiteY18" fmla="*/ 123825 h 473871"/>
                    <a:gd name="connsiteX19" fmla="*/ 1943100 w 3784600"/>
                    <a:gd name="connsiteY19" fmla="*/ 120650 h 473871"/>
                    <a:gd name="connsiteX20" fmla="*/ 2041525 w 3784600"/>
                    <a:gd name="connsiteY20" fmla="*/ 12700 h 473871"/>
                    <a:gd name="connsiteX21" fmla="*/ 2079625 w 3784600"/>
                    <a:gd name="connsiteY21" fmla="*/ 0 h 473871"/>
                    <a:gd name="connsiteX22" fmla="*/ 2152650 w 3784600"/>
                    <a:gd name="connsiteY22" fmla="*/ 0 h 473871"/>
                    <a:gd name="connsiteX23" fmla="*/ 2197100 w 3784600"/>
                    <a:gd name="connsiteY23" fmla="*/ 28575 h 473871"/>
                    <a:gd name="connsiteX24" fmla="*/ 2247900 w 3784600"/>
                    <a:gd name="connsiteY24" fmla="*/ 38100 h 473871"/>
                    <a:gd name="connsiteX25" fmla="*/ 2301875 w 3784600"/>
                    <a:gd name="connsiteY25" fmla="*/ 47625 h 473871"/>
                    <a:gd name="connsiteX26" fmla="*/ 2317750 w 3784600"/>
                    <a:gd name="connsiteY26" fmla="*/ 69850 h 473871"/>
                    <a:gd name="connsiteX27" fmla="*/ 2390775 w 3784600"/>
                    <a:gd name="connsiteY27" fmla="*/ 63500 h 473871"/>
                    <a:gd name="connsiteX28" fmla="*/ 2454275 w 3784600"/>
                    <a:gd name="connsiteY28" fmla="*/ 85725 h 473871"/>
                    <a:gd name="connsiteX29" fmla="*/ 2489200 w 3784600"/>
                    <a:gd name="connsiteY29" fmla="*/ 79375 h 473871"/>
                    <a:gd name="connsiteX30" fmla="*/ 2559050 w 3784600"/>
                    <a:gd name="connsiteY30" fmla="*/ 107950 h 473871"/>
                    <a:gd name="connsiteX31" fmla="*/ 2590800 w 3784600"/>
                    <a:gd name="connsiteY31" fmla="*/ 123825 h 473871"/>
                    <a:gd name="connsiteX32" fmla="*/ 2657475 w 3784600"/>
                    <a:gd name="connsiteY32" fmla="*/ 133350 h 473871"/>
                    <a:gd name="connsiteX33" fmla="*/ 2765425 w 3784600"/>
                    <a:gd name="connsiteY33" fmla="*/ 161925 h 473871"/>
                    <a:gd name="connsiteX34" fmla="*/ 2806700 w 3784600"/>
                    <a:gd name="connsiteY34" fmla="*/ 133350 h 473871"/>
                    <a:gd name="connsiteX35" fmla="*/ 2889250 w 3784600"/>
                    <a:gd name="connsiteY35" fmla="*/ 130175 h 473871"/>
                    <a:gd name="connsiteX36" fmla="*/ 3032125 w 3784600"/>
                    <a:gd name="connsiteY36" fmla="*/ 98425 h 473871"/>
                    <a:gd name="connsiteX37" fmla="*/ 3086100 w 3784600"/>
                    <a:gd name="connsiteY37" fmla="*/ 101600 h 473871"/>
                    <a:gd name="connsiteX38" fmla="*/ 3121025 w 3784600"/>
                    <a:gd name="connsiteY38" fmla="*/ 47625 h 473871"/>
                    <a:gd name="connsiteX39" fmla="*/ 3162300 w 3784600"/>
                    <a:gd name="connsiteY39" fmla="*/ 31750 h 473871"/>
                    <a:gd name="connsiteX40" fmla="*/ 3209925 w 3784600"/>
                    <a:gd name="connsiteY40" fmla="*/ 31750 h 473871"/>
                    <a:gd name="connsiteX41" fmla="*/ 3257550 w 3784600"/>
                    <a:gd name="connsiteY41" fmla="*/ 73025 h 473871"/>
                    <a:gd name="connsiteX42" fmla="*/ 3286125 w 3784600"/>
                    <a:gd name="connsiteY42" fmla="*/ 98425 h 473871"/>
                    <a:gd name="connsiteX43" fmla="*/ 3343275 w 3784600"/>
                    <a:gd name="connsiteY43" fmla="*/ 19050 h 473871"/>
                    <a:gd name="connsiteX44" fmla="*/ 3365500 w 3784600"/>
                    <a:gd name="connsiteY44" fmla="*/ 34925 h 473871"/>
                    <a:gd name="connsiteX45" fmla="*/ 3403600 w 3784600"/>
                    <a:gd name="connsiteY45" fmla="*/ 60325 h 473871"/>
                    <a:gd name="connsiteX46" fmla="*/ 3470275 w 3784600"/>
                    <a:gd name="connsiteY46" fmla="*/ 63500 h 473871"/>
                    <a:gd name="connsiteX47" fmla="*/ 3533775 w 3784600"/>
                    <a:gd name="connsiteY47" fmla="*/ 50800 h 473871"/>
                    <a:gd name="connsiteX48" fmla="*/ 3533775 w 3784600"/>
                    <a:gd name="connsiteY48" fmla="*/ 50800 h 473871"/>
                    <a:gd name="connsiteX49" fmla="*/ 3600450 w 3784600"/>
                    <a:gd name="connsiteY49" fmla="*/ 60325 h 473871"/>
                    <a:gd name="connsiteX50" fmla="*/ 3648075 w 3784600"/>
                    <a:gd name="connsiteY50" fmla="*/ 50800 h 473871"/>
                    <a:gd name="connsiteX51" fmla="*/ 3683000 w 3784600"/>
                    <a:gd name="connsiteY51" fmla="*/ 34925 h 473871"/>
                    <a:gd name="connsiteX52" fmla="*/ 3683000 w 3784600"/>
                    <a:gd name="connsiteY52" fmla="*/ 31750 h 473871"/>
                    <a:gd name="connsiteX53" fmla="*/ 3698875 w 3784600"/>
                    <a:gd name="connsiteY53" fmla="*/ 31750 h 473871"/>
                    <a:gd name="connsiteX54" fmla="*/ 3756025 w 3784600"/>
                    <a:gd name="connsiteY54" fmla="*/ 31750 h 473871"/>
                    <a:gd name="connsiteX55" fmla="*/ 3768725 w 3784600"/>
                    <a:gd name="connsiteY55" fmla="*/ 31750 h 473871"/>
                    <a:gd name="connsiteX56" fmla="*/ 3784600 w 3784600"/>
                    <a:gd name="connsiteY56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628650 w 3784600"/>
                    <a:gd name="connsiteY16" fmla="*/ 165100 h 473871"/>
                    <a:gd name="connsiteX17" fmla="*/ 1800225 w 3784600"/>
                    <a:gd name="connsiteY17" fmla="*/ 123825 h 473871"/>
                    <a:gd name="connsiteX18" fmla="*/ 1943100 w 3784600"/>
                    <a:gd name="connsiteY18" fmla="*/ 120650 h 473871"/>
                    <a:gd name="connsiteX19" fmla="*/ 2041525 w 3784600"/>
                    <a:gd name="connsiteY19" fmla="*/ 12700 h 473871"/>
                    <a:gd name="connsiteX20" fmla="*/ 2079625 w 3784600"/>
                    <a:gd name="connsiteY20" fmla="*/ 0 h 473871"/>
                    <a:gd name="connsiteX21" fmla="*/ 2152650 w 3784600"/>
                    <a:gd name="connsiteY21" fmla="*/ 0 h 473871"/>
                    <a:gd name="connsiteX22" fmla="*/ 2197100 w 3784600"/>
                    <a:gd name="connsiteY22" fmla="*/ 28575 h 473871"/>
                    <a:gd name="connsiteX23" fmla="*/ 2247900 w 3784600"/>
                    <a:gd name="connsiteY23" fmla="*/ 38100 h 473871"/>
                    <a:gd name="connsiteX24" fmla="*/ 2301875 w 3784600"/>
                    <a:gd name="connsiteY24" fmla="*/ 47625 h 473871"/>
                    <a:gd name="connsiteX25" fmla="*/ 2317750 w 3784600"/>
                    <a:gd name="connsiteY25" fmla="*/ 69850 h 473871"/>
                    <a:gd name="connsiteX26" fmla="*/ 2390775 w 3784600"/>
                    <a:gd name="connsiteY26" fmla="*/ 63500 h 473871"/>
                    <a:gd name="connsiteX27" fmla="*/ 2454275 w 3784600"/>
                    <a:gd name="connsiteY27" fmla="*/ 85725 h 473871"/>
                    <a:gd name="connsiteX28" fmla="*/ 2489200 w 3784600"/>
                    <a:gd name="connsiteY28" fmla="*/ 79375 h 473871"/>
                    <a:gd name="connsiteX29" fmla="*/ 2559050 w 3784600"/>
                    <a:gd name="connsiteY29" fmla="*/ 107950 h 473871"/>
                    <a:gd name="connsiteX30" fmla="*/ 2590800 w 3784600"/>
                    <a:gd name="connsiteY30" fmla="*/ 123825 h 473871"/>
                    <a:gd name="connsiteX31" fmla="*/ 2657475 w 3784600"/>
                    <a:gd name="connsiteY31" fmla="*/ 133350 h 473871"/>
                    <a:gd name="connsiteX32" fmla="*/ 2765425 w 3784600"/>
                    <a:gd name="connsiteY32" fmla="*/ 161925 h 473871"/>
                    <a:gd name="connsiteX33" fmla="*/ 2806700 w 3784600"/>
                    <a:gd name="connsiteY33" fmla="*/ 133350 h 473871"/>
                    <a:gd name="connsiteX34" fmla="*/ 2889250 w 3784600"/>
                    <a:gd name="connsiteY34" fmla="*/ 130175 h 473871"/>
                    <a:gd name="connsiteX35" fmla="*/ 3032125 w 3784600"/>
                    <a:gd name="connsiteY35" fmla="*/ 98425 h 473871"/>
                    <a:gd name="connsiteX36" fmla="*/ 3086100 w 3784600"/>
                    <a:gd name="connsiteY36" fmla="*/ 101600 h 473871"/>
                    <a:gd name="connsiteX37" fmla="*/ 3121025 w 3784600"/>
                    <a:gd name="connsiteY37" fmla="*/ 47625 h 473871"/>
                    <a:gd name="connsiteX38" fmla="*/ 3162300 w 3784600"/>
                    <a:gd name="connsiteY38" fmla="*/ 31750 h 473871"/>
                    <a:gd name="connsiteX39" fmla="*/ 3209925 w 3784600"/>
                    <a:gd name="connsiteY39" fmla="*/ 31750 h 473871"/>
                    <a:gd name="connsiteX40" fmla="*/ 3257550 w 3784600"/>
                    <a:gd name="connsiteY40" fmla="*/ 73025 h 473871"/>
                    <a:gd name="connsiteX41" fmla="*/ 3286125 w 3784600"/>
                    <a:gd name="connsiteY41" fmla="*/ 98425 h 473871"/>
                    <a:gd name="connsiteX42" fmla="*/ 3343275 w 3784600"/>
                    <a:gd name="connsiteY42" fmla="*/ 19050 h 473871"/>
                    <a:gd name="connsiteX43" fmla="*/ 3365500 w 3784600"/>
                    <a:gd name="connsiteY43" fmla="*/ 34925 h 473871"/>
                    <a:gd name="connsiteX44" fmla="*/ 3403600 w 3784600"/>
                    <a:gd name="connsiteY44" fmla="*/ 60325 h 473871"/>
                    <a:gd name="connsiteX45" fmla="*/ 3470275 w 3784600"/>
                    <a:gd name="connsiteY45" fmla="*/ 63500 h 473871"/>
                    <a:gd name="connsiteX46" fmla="*/ 3533775 w 3784600"/>
                    <a:gd name="connsiteY46" fmla="*/ 50800 h 473871"/>
                    <a:gd name="connsiteX47" fmla="*/ 3533775 w 3784600"/>
                    <a:gd name="connsiteY47" fmla="*/ 50800 h 473871"/>
                    <a:gd name="connsiteX48" fmla="*/ 3600450 w 3784600"/>
                    <a:gd name="connsiteY48" fmla="*/ 60325 h 473871"/>
                    <a:gd name="connsiteX49" fmla="*/ 3648075 w 3784600"/>
                    <a:gd name="connsiteY49" fmla="*/ 50800 h 473871"/>
                    <a:gd name="connsiteX50" fmla="*/ 3683000 w 3784600"/>
                    <a:gd name="connsiteY50" fmla="*/ 34925 h 473871"/>
                    <a:gd name="connsiteX51" fmla="*/ 3683000 w 3784600"/>
                    <a:gd name="connsiteY51" fmla="*/ 31750 h 473871"/>
                    <a:gd name="connsiteX52" fmla="*/ 3698875 w 3784600"/>
                    <a:gd name="connsiteY52" fmla="*/ 31750 h 473871"/>
                    <a:gd name="connsiteX53" fmla="*/ 3756025 w 3784600"/>
                    <a:gd name="connsiteY53" fmla="*/ 31750 h 473871"/>
                    <a:gd name="connsiteX54" fmla="*/ 3768725 w 3784600"/>
                    <a:gd name="connsiteY54" fmla="*/ 31750 h 473871"/>
                    <a:gd name="connsiteX55" fmla="*/ 3784600 w 3784600"/>
                    <a:gd name="connsiteY55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581025 w 3784600"/>
                    <a:gd name="connsiteY15" fmla="*/ 158750 h 473871"/>
                    <a:gd name="connsiteX16" fmla="*/ 1800225 w 3784600"/>
                    <a:gd name="connsiteY16" fmla="*/ 123825 h 473871"/>
                    <a:gd name="connsiteX17" fmla="*/ 1943100 w 3784600"/>
                    <a:gd name="connsiteY17" fmla="*/ 120650 h 473871"/>
                    <a:gd name="connsiteX18" fmla="*/ 2041525 w 3784600"/>
                    <a:gd name="connsiteY18" fmla="*/ 12700 h 473871"/>
                    <a:gd name="connsiteX19" fmla="*/ 2079625 w 3784600"/>
                    <a:gd name="connsiteY19" fmla="*/ 0 h 473871"/>
                    <a:gd name="connsiteX20" fmla="*/ 2152650 w 3784600"/>
                    <a:gd name="connsiteY20" fmla="*/ 0 h 473871"/>
                    <a:gd name="connsiteX21" fmla="*/ 2197100 w 3784600"/>
                    <a:gd name="connsiteY21" fmla="*/ 28575 h 473871"/>
                    <a:gd name="connsiteX22" fmla="*/ 2247900 w 3784600"/>
                    <a:gd name="connsiteY22" fmla="*/ 38100 h 473871"/>
                    <a:gd name="connsiteX23" fmla="*/ 2301875 w 3784600"/>
                    <a:gd name="connsiteY23" fmla="*/ 47625 h 473871"/>
                    <a:gd name="connsiteX24" fmla="*/ 2317750 w 3784600"/>
                    <a:gd name="connsiteY24" fmla="*/ 69850 h 473871"/>
                    <a:gd name="connsiteX25" fmla="*/ 2390775 w 3784600"/>
                    <a:gd name="connsiteY25" fmla="*/ 63500 h 473871"/>
                    <a:gd name="connsiteX26" fmla="*/ 2454275 w 3784600"/>
                    <a:gd name="connsiteY26" fmla="*/ 85725 h 473871"/>
                    <a:gd name="connsiteX27" fmla="*/ 2489200 w 3784600"/>
                    <a:gd name="connsiteY27" fmla="*/ 79375 h 473871"/>
                    <a:gd name="connsiteX28" fmla="*/ 2559050 w 3784600"/>
                    <a:gd name="connsiteY28" fmla="*/ 107950 h 473871"/>
                    <a:gd name="connsiteX29" fmla="*/ 2590800 w 3784600"/>
                    <a:gd name="connsiteY29" fmla="*/ 123825 h 473871"/>
                    <a:gd name="connsiteX30" fmla="*/ 2657475 w 3784600"/>
                    <a:gd name="connsiteY30" fmla="*/ 133350 h 473871"/>
                    <a:gd name="connsiteX31" fmla="*/ 2765425 w 3784600"/>
                    <a:gd name="connsiteY31" fmla="*/ 161925 h 473871"/>
                    <a:gd name="connsiteX32" fmla="*/ 2806700 w 3784600"/>
                    <a:gd name="connsiteY32" fmla="*/ 133350 h 473871"/>
                    <a:gd name="connsiteX33" fmla="*/ 2889250 w 3784600"/>
                    <a:gd name="connsiteY33" fmla="*/ 130175 h 473871"/>
                    <a:gd name="connsiteX34" fmla="*/ 3032125 w 3784600"/>
                    <a:gd name="connsiteY34" fmla="*/ 98425 h 473871"/>
                    <a:gd name="connsiteX35" fmla="*/ 3086100 w 3784600"/>
                    <a:gd name="connsiteY35" fmla="*/ 101600 h 473871"/>
                    <a:gd name="connsiteX36" fmla="*/ 3121025 w 3784600"/>
                    <a:gd name="connsiteY36" fmla="*/ 47625 h 473871"/>
                    <a:gd name="connsiteX37" fmla="*/ 3162300 w 3784600"/>
                    <a:gd name="connsiteY37" fmla="*/ 31750 h 473871"/>
                    <a:gd name="connsiteX38" fmla="*/ 3209925 w 3784600"/>
                    <a:gd name="connsiteY38" fmla="*/ 31750 h 473871"/>
                    <a:gd name="connsiteX39" fmla="*/ 3257550 w 3784600"/>
                    <a:gd name="connsiteY39" fmla="*/ 73025 h 473871"/>
                    <a:gd name="connsiteX40" fmla="*/ 3286125 w 3784600"/>
                    <a:gd name="connsiteY40" fmla="*/ 98425 h 473871"/>
                    <a:gd name="connsiteX41" fmla="*/ 3343275 w 3784600"/>
                    <a:gd name="connsiteY41" fmla="*/ 19050 h 473871"/>
                    <a:gd name="connsiteX42" fmla="*/ 3365500 w 3784600"/>
                    <a:gd name="connsiteY42" fmla="*/ 34925 h 473871"/>
                    <a:gd name="connsiteX43" fmla="*/ 3403600 w 3784600"/>
                    <a:gd name="connsiteY43" fmla="*/ 60325 h 473871"/>
                    <a:gd name="connsiteX44" fmla="*/ 3470275 w 3784600"/>
                    <a:gd name="connsiteY44" fmla="*/ 63500 h 473871"/>
                    <a:gd name="connsiteX45" fmla="*/ 3533775 w 3784600"/>
                    <a:gd name="connsiteY45" fmla="*/ 50800 h 473871"/>
                    <a:gd name="connsiteX46" fmla="*/ 3533775 w 3784600"/>
                    <a:gd name="connsiteY46" fmla="*/ 50800 h 473871"/>
                    <a:gd name="connsiteX47" fmla="*/ 3600450 w 3784600"/>
                    <a:gd name="connsiteY47" fmla="*/ 60325 h 473871"/>
                    <a:gd name="connsiteX48" fmla="*/ 3648075 w 3784600"/>
                    <a:gd name="connsiteY48" fmla="*/ 50800 h 473871"/>
                    <a:gd name="connsiteX49" fmla="*/ 3683000 w 3784600"/>
                    <a:gd name="connsiteY49" fmla="*/ 34925 h 473871"/>
                    <a:gd name="connsiteX50" fmla="*/ 3683000 w 3784600"/>
                    <a:gd name="connsiteY50" fmla="*/ 31750 h 473871"/>
                    <a:gd name="connsiteX51" fmla="*/ 3698875 w 3784600"/>
                    <a:gd name="connsiteY51" fmla="*/ 31750 h 473871"/>
                    <a:gd name="connsiteX52" fmla="*/ 3756025 w 3784600"/>
                    <a:gd name="connsiteY52" fmla="*/ 31750 h 473871"/>
                    <a:gd name="connsiteX53" fmla="*/ 3768725 w 3784600"/>
                    <a:gd name="connsiteY53" fmla="*/ 31750 h 473871"/>
                    <a:gd name="connsiteX54" fmla="*/ 3784600 w 3784600"/>
                    <a:gd name="connsiteY54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555625 w 3784600"/>
                    <a:gd name="connsiteY14" fmla="*/ 146050 h 473871"/>
                    <a:gd name="connsiteX15" fmla="*/ 1800225 w 3784600"/>
                    <a:gd name="connsiteY15" fmla="*/ 123825 h 473871"/>
                    <a:gd name="connsiteX16" fmla="*/ 1943100 w 3784600"/>
                    <a:gd name="connsiteY16" fmla="*/ 120650 h 473871"/>
                    <a:gd name="connsiteX17" fmla="*/ 2041525 w 3784600"/>
                    <a:gd name="connsiteY17" fmla="*/ 12700 h 473871"/>
                    <a:gd name="connsiteX18" fmla="*/ 2079625 w 3784600"/>
                    <a:gd name="connsiteY18" fmla="*/ 0 h 473871"/>
                    <a:gd name="connsiteX19" fmla="*/ 2152650 w 3784600"/>
                    <a:gd name="connsiteY19" fmla="*/ 0 h 473871"/>
                    <a:gd name="connsiteX20" fmla="*/ 2197100 w 3784600"/>
                    <a:gd name="connsiteY20" fmla="*/ 28575 h 473871"/>
                    <a:gd name="connsiteX21" fmla="*/ 2247900 w 3784600"/>
                    <a:gd name="connsiteY21" fmla="*/ 38100 h 473871"/>
                    <a:gd name="connsiteX22" fmla="*/ 2301875 w 3784600"/>
                    <a:gd name="connsiteY22" fmla="*/ 47625 h 473871"/>
                    <a:gd name="connsiteX23" fmla="*/ 2317750 w 3784600"/>
                    <a:gd name="connsiteY23" fmla="*/ 69850 h 473871"/>
                    <a:gd name="connsiteX24" fmla="*/ 2390775 w 3784600"/>
                    <a:gd name="connsiteY24" fmla="*/ 63500 h 473871"/>
                    <a:gd name="connsiteX25" fmla="*/ 2454275 w 3784600"/>
                    <a:gd name="connsiteY25" fmla="*/ 85725 h 473871"/>
                    <a:gd name="connsiteX26" fmla="*/ 2489200 w 3784600"/>
                    <a:gd name="connsiteY26" fmla="*/ 79375 h 473871"/>
                    <a:gd name="connsiteX27" fmla="*/ 2559050 w 3784600"/>
                    <a:gd name="connsiteY27" fmla="*/ 107950 h 473871"/>
                    <a:gd name="connsiteX28" fmla="*/ 2590800 w 3784600"/>
                    <a:gd name="connsiteY28" fmla="*/ 123825 h 473871"/>
                    <a:gd name="connsiteX29" fmla="*/ 2657475 w 3784600"/>
                    <a:gd name="connsiteY29" fmla="*/ 133350 h 473871"/>
                    <a:gd name="connsiteX30" fmla="*/ 2765425 w 3784600"/>
                    <a:gd name="connsiteY30" fmla="*/ 161925 h 473871"/>
                    <a:gd name="connsiteX31" fmla="*/ 2806700 w 3784600"/>
                    <a:gd name="connsiteY31" fmla="*/ 133350 h 473871"/>
                    <a:gd name="connsiteX32" fmla="*/ 2889250 w 3784600"/>
                    <a:gd name="connsiteY32" fmla="*/ 130175 h 473871"/>
                    <a:gd name="connsiteX33" fmla="*/ 3032125 w 3784600"/>
                    <a:gd name="connsiteY33" fmla="*/ 98425 h 473871"/>
                    <a:gd name="connsiteX34" fmla="*/ 3086100 w 3784600"/>
                    <a:gd name="connsiteY34" fmla="*/ 101600 h 473871"/>
                    <a:gd name="connsiteX35" fmla="*/ 3121025 w 3784600"/>
                    <a:gd name="connsiteY35" fmla="*/ 47625 h 473871"/>
                    <a:gd name="connsiteX36" fmla="*/ 3162300 w 3784600"/>
                    <a:gd name="connsiteY36" fmla="*/ 31750 h 473871"/>
                    <a:gd name="connsiteX37" fmla="*/ 3209925 w 3784600"/>
                    <a:gd name="connsiteY37" fmla="*/ 31750 h 473871"/>
                    <a:gd name="connsiteX38" fmla="*/ 3257550 w 3784600"/>
                    <a:gd name="connsiteY38" fmla="*/ 73025 h 473871"/>
                    <a:gd name="connsiteX39" fmla="*/ 3286125 w 3784600"/>
                    <a:gd name="connsiteY39" fmla="*/ 98425 h 473871"/>
                    <a:gd name="connsiteX40" fmla="*/ 3343275 w 3784600"/>
                    <a:gd name="connsiteY40" fmla="*/ 19050 h 473871"/>
                    <a:gd name="connsiteX41" fmla="*/ 3365500 w 3784600"/>
                    <a:gd name="connsiteY41" fmla="*/ 34925 h 473871"/>
                    <a:gd name="connsiteX42" fmla="*/ 3403600 w 3784600"/>
                    <a:gd name="connsiteY42" fmla="*/ 60325 h 473871"/>
                    <a:gd name="connsiteX43" fmla="*/ 3470275 w 3784600"/>
                    <a:gd name="connsiteY43" fmla="*/ 63500 h 473871"/>
                    <a:gd name="connsiteX44" fmla="*/ 3533775 w 3784600"/>
                    <a:gd name="connsiteY44" fmla="*/ 50800 h 473871"/>
                    <a:gd name="connsiteX45" fmla="*/ 3533775 w 3784600"/>
                    <a:gd name="connsiteY45" fmla="*/ 50800 h 473871"/>
                    <a:gd name="connsiteX46" fmla="*/ 3600450 w 3784600"/>
                    <a:gd name="connsiteY46" fmla="*/ 60325 h 473871"/>
                    <a:gd name="connsiteX47" fmla="*/ 3648075 w 3784600"/>
                    <a:gd name="connsiteY47" fmla="*/ 50800 h 473871"/>
                    <a:gd name="connsiteX48" fmla="*/ 3683000 w 3784600"/>
                    <a:gd name="connsiteY48" fmla="*/ 34925 h 473871"/>
                    <a:gd name="connsiteX49" fmla="*/ 3683000 w 3784600"/>
                    <a:gd name="connsiteY49" fmla="*/ 31750 h 473871"/>
                    <a:gd name="connsiteX50" fmla="*/ 3698875 w 3784600"/>
                    <a:gd name="connsiteY50" fmla="*/ 31750 h 473871"/>
                    <a:gd name="connsiteX51" fmla="*/ 3756025 w 3784600"/>
                    <a:gd name="connsiteY51" fmla="*/ 31750 h 473871"/>
                    <a:gd name="connsiteX52" fmla="*/ 3768725 w 3784600"/>
                    <a:gd name="connsiteY52" fmla="*/ 31750 h 473871"/>
                    <a:gd name="connsiteX53" fmla="*/ 3784600 w 3784600"/>
                    <a:gd name="connsiteY53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488950 w 3784600"/>
                    <a:gd name="connsiteY13" fmla="*/ 142875 h 473871"/>
                    <a:gd name="connsiteX14" fmla="*/ 1800225 w 3784600"/>
                    <a:gd name="connsiteY14" fmla="*/ 123825 h 473871"/>
                    <a:gd name="connsiteX15" fmla="*/ 1943100 w 3784600"/>
                    <a:gd name="connsiteY15" fmla="*/ 120650 h 473871"/>
                    <a:gd name="connsiteX16" fmla="*/ 2041525 w 3784600"/>
                    <a:gd name="connsiteY16" fmla="*/ 12700 h 473871"/>
                    <a:gd name="connsiteX17" fmla="*/ 2079625 w 3784600"/>
                    <a:gd name="connsiteY17" fmla="*/ 0 h 473871"/>
                    <a:gd name="connsiteX18" fmla="*/ 2152650 w 3784600"/>
                    <a:gd name="connsiteY18" fmla="*/ 0 h 473871"/>
                    <a:gd name="connsiteX19" fmla="*/ 2197100 w 3784600"/>
                    <a:gd name="connsiteY19" fmla="*/ 28575 h 473871"/>
                    <a:gd name="connsiteX20" fmla="*/ 2247900 w 3784600"/>
                    <a:gd name="connsiteY20" fmla="*/ 38100 h 473871"/>
                    <a:gd name="connsiteX21" fmla="*/ 2301875 w 3784600"/>
                    <a:gd name="connsiteY21" fmla="*/ 47625 h 473871"/>
                    <a:gd name="connsiteX22" fmla="*/ 2317750 w 3784600"/>
                    <a:gd name="connsiteY22" fmla="*/ 69850 h 473871"/>
                    <a:gd name="connsiteX23" fmla="*/ 2390775 w 3784600"/>
                    <a:gd name="connsiteY23" fmla="*/ 63500 h 473871"/>
                    <a:gd name="connsiteX24" fmla="*/ 2454275 w 3784600"/>
                    <a:gd name="connsiteY24" fmla="*/ 85725 h 473871"/>
                    <a:gd name="connsiteX25" fmla="*/ 2489200 w 3784600"/>
                    <a:gd name="connsiteY25" fmla="*/ 79375 h 473871"/>
                    <a:gd name="connsiteX26" fmla="*/ 2559050 w 3784600"/>
                    <a:gd name="connsiteY26" fmla="*/ 107950 h 473871"/>
                    <a:gd name="connsiteX27" fmla="*/ 2590800 w 3784600"/>
                    <a:gd name="connsiteY27" fmla="*/ 123825 h 473871"/>
                    <a:gd name="connsiteX28" fmla="*/ 2657475 w 3784600"/>
                    <a:gd name="connsiteY28" fmla="*/ 133350 h 473871"/>
                    <a:gd name="connsiteX29" fmla="*/ 2765425 w 3784600"/>
                    <a:gd name="connsiteY29" fmla="*/ 161925 h 473871"/>
                    <a:gd name="connsiteX30" fmla="*/ 2806700 w 3784600"/>
                    <a:gd name="connsiteY30" fmla="*/ 133350 h 473871"/>
                    <a:gd name="connsiteX31" fmla="*/ 2889250 w 3784600"/>
                    <a:gd name="connsiteY31" fmla="*/ 130175 h 473871"/>
                    <a:gd name="connsiteX32" fmla="*/ 3032125 w 3784600"/>
                    <a:gd name="connsiteY32" fmla="*/ 98425 h 473871"/>
                    <a:gd name="connsiteX33" fmla="*/ 3086100 w 3784600"/>
                    <a:gd name="connsiteY33" fmla="*/ 101600 h 473871"/>
                    <a:gd name="connsiteX34" fmla="*/ 3121025 w 3784600"/>
                    <a:gd name="connsiteY34" fmla="*/ 47625 h 473871"/>
                    <a:gd name="connsiteX35" fmla="*/ 3162300 w 3784600"/>
                    <a:gd name="connsiteY35" fmla="*/ 31750 h 473871"/>
                    <a:gd name="connsiteX36" fmla="*/ 3209925 w 3784600"/>
                    <a:gd name="connsiteY36" fmla="*/ 31750 h 473871"/>
                    <a:gd name="connsiteX37" fmla="*/ 3257550 w 3784600"/>
                    <a:gd name="connsiteY37" fmla="*/ 73025 h 473871"/>
                    <a:gd name="connsiteX38" fmla="*/ 3286125 w 3784600"/>
                    <a:gd name="connsiteY38" fmla="*/ 98425 h 473871"/>
                    <a:gd name="connsiteX39" fmla="*/ 3343275 w 3784600"/>
                    <a:gd name="connsiteY39" fmla="*/ 19050 h 473871"/>
                    <a:gd name="connsiteX40" fmla="*/ 3365500 w 3784600"/>
                    <a:gd name="connsiteY40" fmla="*/ 34925 h 473871"/>
                    <a:gd name="connsiteX41" fmla="*/ 3403600 w 3784600"/>
                    <a:gd name="connsiteY41" fmla="*/ 60325 h 473871"/>
                    <a:gd name="connsiteX42" fmla="*/ 3470275 w 3784600"/>
                    <a:gd name="connsiteY42" fmla="*/ 63500 h 473871"/>
                    <a:gd name="connsiteX43" fmla="*/ 3533775 w 3784600"/>
                    <a:gd name="connsiteY43" fmla="*/ 50800 h 473871"/>
                    <a:gd name="connsiteX44" fmla="*/ 3533775 w 3784600"/>
                    <a:gd name="connsiteY44" fmla="*/ 50800 h 473871"/>
                    <a:gd name="connsiteX45" fmla="*/ 3600450 w 3784600"/>
                    <a:gd name="connsiteY45" fmla="*/ 60325 h 473871"/>
                    <a:gd name="connsiteX46" fmla="*/ 3648075 w 3784600"/>
                    <a:gd name="connsiteY46" fmla="*/ 50800 h 473871"/>
                    <a:gd name="connsiteX47" fmla="*/ 3683000 w 3784600"/>
                    <a:gd name="connsiteY47" fmla="*/ 34925 h 473871"/>
                    <a:gd name="connsiteX48" fmla="*/ 3683000 w 3784600"/>
                    <a:gd name="connsiteY48" fmla="*/ 31750 h 473871"/>
                    <a:gd name="connsiteX49" fmla="*/ 3698875 w 3784600"/>
                    <a:gd name="connsiteY49" fmla="*/ 31750 h 473871"/>
                    <a:gd name="connsiteX50" fmla="*/ 3756025 w 3784600"/>
                    <a:gd name="connsiteY50" fmla="*/ 31750 h 473871"/>
                    <a:gd name="connsiteX51" fmla="*/ 3768725 w 3784600"/>
                    <a:gd name="connsiteY51" fmla="*/ 31750 h 473871"/>
                    <a:gd name="connsiteX52" fmla="*/ 3784600 w 3784600"/>
                    <a:gd name="connsiteY52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460375 w 3784600"/>
                    <a:gd name="connsiteY12" fmla="*/ 149225 h 473871"/>
                    <a:gd name="connsiteX13" fmla="*/ 1800225 w 3784600"/>
                    <a:gd name="connsiteY13" fmla="*/ 123825 h 473871"/>
                    <a:gd name="connsiteX14" fmla="*/ 1943100 w 3784600"/>
                    <a:gd name="connsiteY14" fmla="*/ 120650 h 473871"/>
                    <a:gd name="connsiteX15" fmla="*/ 2041525 w 3784600"/>
                    <a:gd name="connsiteY15" fmla="*/ 12700 h 473871"/>
                    <a:gd name="connsiteX16" fmla="*/ 2079625 w 3784600"/>
                    <a:gd name="connsiteY16" fmla="*/ 0 h 473871"/>
                    <a:gd name="connsiteX17" fmla="*/ 2152650 w 3784600"/>
                    <a:gd name="connsiteY17" fmla="*/ 0 h 473871"/>
                    <a:gd name="connsiteX18" fmla="*/ 2197100 w 3784600"/>
                    <a:gd name="connsiteY18" fmla="*/ 28575 h 473871"/>
                    <a:gd name="connsiteX19" fmla="*/ 2247900 w 3784600"/>
                    <a:gd name="connsiteY19" fmla="*/ 38100 h 473871"/>
                    <a:gd name="connsiteX20" fmla="*/ 2301875 w 3784600"/>
                    <a:gd name="connsiteY20" fmla="*/ 47625 h 473871"/>
                    <a:gd name="connsiteX21" fmla="*/ 2317750 w 3784600"/>
                    <a:gd name="connsiteY21" fmla="*/ 69850 h 473871"/>
                    <a:gd name="connsiteX22" fmla="*/ 2390775 w 3784600"/>
                    <a:gd name="connsiteY22" fmla="*/ 63500 h 473871"/>
                    <a:gd name="connsiteX23" fmla="*/ 2454275 w 3784600"/>
                    <a:gd name="connsiteY23" fmla="*/ 85725 h 473871"/>
                    <a:gd name="connsiteX24" fmla="*/ 2489200 w 3784600"/>
                    <a:gd name="connsiteY24" fmla="*/ 79375 h 473871"/>
                    <a:gd name="connsiteX25" fmla="*/ 2559050 w 3784600"/>
                    <a:gd name="connsiteY25" fmla="*/ 107950 h 473871"/>
                    <a:gd name="connsiteX26" fmla="*/ 2590800 w 3784600"/>
                    <a:gd name="connsiteY26" fmla="*/ 123825 h 473871"/>
                    <a:gd name="connsiteX27" fmla="*/ 2657475 w 3784600"/>
                    <a:gd name="connsiteY27" fmla="*/ 133350 h 473871"/>
                    <a:gd name="connsiteX28" fmla="*/ 2765425 w 3784600"/>
                    <a:gd name="connsiteY28" fmla="*/ 161925 h 473871"/>
                    <a:gd name="connsiteX29" fmla="*/ 2806700 w 3784600"/>
                    <a:gd name="connsiteY29" fmla="*/ 133350 h 473871"/>
                    <a:gd name="connsiteX30" fmla="*/ 2889250 w 3784600"/>
                    <a:gd name="connsiteY30" fmla="*/ 130175 h 473871"/>
                    <a:gd name="connsiteX31" fmla="*/ 3032125 w 3784600"/>
                    <a:gd name="connsiteY31" fmla="*/ 98425 h 473871"/>
                    <a:gd name="connsiteX32" fmla="*/ 3086100 w 3784600"/>
                    <a:gd name="connsiteY32" fmla="*/ 101600 h 473871"/>
                    <a:gd name="connsiteX33" fmla="*/ 3121025 w 3784600"/>
                    <a:gd name="connsiteY33" fmla="*/ 47625 h 473871"/>
                    <a:gd name="connsiteX34" fmla="*/ 3162300 w 3784600"/>
                    <a:gd name="connsiteY34" fmla="*/ 31750 h 473871"/>
                    <a:gd name="connsiteX35" fmla="*/ 3209925 w 3784600"/>
                    <a:gd name="connsiteY35" fmla="*/ 31750 h 473871"/>
                    <a:gd name="connsiteX36" fmla="*/ 3257550 w 3784600"/>
                    <a:gd name="connsiteY36" fmla="*/ 73025 h 473871"/>
                    <a:gd name="connsiteX37" fmla="*/ 3286125 w 3784600"/>
                    <a:gd name="connsiteY37" fmla="*/ 98425 h 473871"/>
                    <a:gd name="connsiteX38" fmla="*/ 3343275 w 3784600"/>
                    <a:gd name="connsiteY38" fmla="*/ 19050 h 473871"/>
                    <a:gd name="connsiteX39" fmla="*/ 3365500 w 3784600"/>
                    <a:gd name="connsiteY39" fmla="*/ 34925 h 473871"/>
                    <a:gd name="connsiteX40" fmla="*/ 3403600 w 3784600"/>
                    <a:gd name="connsiteY40" fmla="*/ 60325 h 473871"/>
                    <a:gd name="connsiteX41" fmla="*/ 3470275 w 3784600"/>
                    <a:gd name="connsiteY41" fmla="*/ 63500 h 473871"/>
                    <a:gd name="connsiteX42" fmla="*/ 3533775 w 3784600"/>
                    <a:gd name="connsiteY42" fmla="*/ 50800 h 473871"/>
                    <a:gd name="connsiteX43" fmla="*/ 3533775 w 3784600"/>
                    <a:gd name="connsiteY43" fmla="*/ 50800 h 473871"/>
                    <a:gd name="connsiteX44" fmla="*/ 3600450 w 3784600"/>
                    <a:gd name="connsiteY44" fmla="*/ 60325 h 473871"/>
                    <a:gd name="connsiteX45" fmla="*/ 3648075 w 3784600"/>
                    <a:gd name="connsiteY45" fmla="*/ 50800 h 473871"/>
                    <a:gd name="connsiteX46" fmla="*/ 3683000 w 3784600"/>
                    <a:gd name="connsiteY46" fmla="*/ 34925 h 473871"/>
                    <a:gd name="connsiteX47" fmla="*/ 3683000 w 3784600"/>
                    <a:gd name="connsiteY47" fmla="*/ 31750 h 473871"/>
                    <a:gd name="connsiteX48" fmla="*/ 3698875 w 3784600"/>
                    <a:gd name="connsiteY48" fmla="*/ 31750 h 473871"/>
                    <a:gd name="connsiteX49" fmla="*/ 3756025 w 3784600"/>
                    <a:gd name="connsiteY49" fmla="*/ 31750 h 473871"/>
                    <a:gd name="connsiteX50" fmla="*/ 3768725 w 3784600"/>
                    <a:gd name="connsiteY50" fmla="*/ 31750 h 473871"/>
                    <a:gd name="connsiteX51" fmla="*/ 3784600 w 3784600"/>
                    <a:gd name="connsiteY51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434975 w 3784600"/>
                    <a:gd name="connsiteY11" fmla="*/ 130175 h 473871"/>
                    <a:gd name="connsiteX12" fmla="*/ 1800225 w 3784600"/>
                    <a:gd name="connsiteY12" fmla="*/ 123825 h 473871"/>
                    <a:gd name="connsiteX13" fmla="*/ 1943100 w 3784600"/>
                    <a:gd name="connsiteY13" fmla="*/ 120650 h 473871"/>
                    <a:gd name="connsiteX14" fmla="*/ 2041525 w 3784600"/>
                    <a:gd name="connsiteY14" fmla="*/ 12700 h 473871"/>
                    <a:gd name="connsiteX15" fmla="*/ 2079625 w 3784600"/>
                    <a:gd name="connsiteY15" fmla="*/ 0 h 473871"/>
                    <a:gd name="connsiteX16" fmla="*/ 2152650 w 3784600"/>
                    <a:gd name="connsiteY16" fmla="*/ 0 h 473871"/>
                    <a:gd name="connsiteX17" fmla="*/ 2197100 w 3784600"/>
                    <a:gd name="connsiteY17" fmla="*/ 28575 h 473871"/>
                    <a:gd name="connsiteX18" fmla="*/ 2247900 w 3784600"/>
                    <a:gd name="connsiteY18" fmla="*/ 38100 h 473871"/>
                    <a:gd name="connsiteX19" fmla="*/ 2301875 w 3784600"/>
                    <a:gd name="connsiteY19" fmla="*/ 47625 h 473871"/>
                    <a:gd name="connsiteX20" fmla="*/ 2317750 w 3784600"/>
                    <a:gd name="connsiteY20" fmla="*/ 69850 h 473871"/>
                    <a:gd name="connsiteX21" fmla="*/ 2390775 w 3784600"/>
                    <a:gd name="connsiteY21" fmla="*/ 63500 h 473871"/>
                    <a:gd name="connsiteX22" fmla="*/ 2454275 w 3784600"/>
                    <a:gd name="connsiteY22" fmla="*/ 85725 h 473871"/>
                    <a:gd name="connsiteX23" fmla="*/ 2489200 w 3784600"/>
                    <a:gd name="connsiteY23" fmla="*/ 79375 h 473871"/>
                    <a:gd name="connsiteX24" fmla="*/ 2559050 w 3784600"/>
                    <a:gd name="connsiteY24" fmla="*/ 107950 h 473871"/>
                    <a:gd name="connsiteX25" fmla="*/ 2590800 w 3784600"/>
                    <a:gd name="connsiteY25" fmla="*/ 123825 h 473871"/>
                    <a:gd name="connsiteX26" fmla="*/ 2657475 w 3784600"/>
                    <a:gd name="connsiteY26" fmla="*/ 133350 h 473871"/>
                    <a:gd name="connsiteX27" fmla="*/ 2765425 w 3784600"/>
                    <a:gd name="connsiteY27" fmla="*/ 161925 h 473871"/>
                    <a:gd name="connsiteX28" fmla="*/ 2806700 w 3784600"/>
                    <a:gd name="connsiteY28" fmla="*/ 133350 h 473871"/>
                    <a:gd name="connsiteX29" fmla="*/ 2889250 w 3784600"/>
                    <a:gd name="connsiteY29" fmla="*/ 130175 h 473871"/>
                    <a:gd name="connsiteX30" fmla="*/ 3032125 w 3784600"/>
                    <a:gd name="connsiteY30" fmla="*/ 98425 h 473871"/>
                    <a:gd name="connsiteX31" fmla="*/ 3086100 w 3784600"/>
                    <a:gd name="connsiteY31" fmla="*/ 101600 h 473871"/>
                    <a:gd name="connsiteX32" fmla="*/ 3121025 w 3784600"/>
                    <a:gd name="connsiteY32" fmla="*/ 47625 h 473871"/>
                    <a:gd name="connsiteX33" fmla="*/ 3162300 w 3784600"/>
                    <a:gd name="connsiteY33" fmla="*/ 31750 h 473871"/>
                    <a:gd name="connsiteX34" fmla="*/ 3209925 w 3784600"/>
                    <a:gd name="connsiteY34" fmla="*/ 31750 h 473871"/>
                    <a:gd name="connsiteX35" fmla="*/ 3257550 w 3784600"/>
                    <a:gd name="connsiteY35" fmla="*/ 73025 h 473871"/>
                    <a:gd name="connsiteX36" fmla="*/ 3286125 w 3784600"/>
                    <a:gd name="connsiteY36" fmla="*/ 98425 h 473871"/>
                    <a:gd name="connsiteX37" fmla="*/ 3343275 w 3784600"/>
                    <a:gd name="connsiteY37" fmla="*/ 19050 h 473871"/>
                    <a:gd name="connsiteX38" fmla="*/ 3365500 w 3784600"/>
                    <a:gd name="connsiteY38" fmla="*/ 34925 h 473871"/>
                    <a:gd name="connsiteX39" fmla="*/ 3403600 w 3784600"/>
                    <a:gd name="connsiteY39" fmla="*/ 60325 h 473871"/>
                    <a:gd name="connsiteX40" fmla="*/ 3470275 w 3784600"/>
                    <a:gd name="connsiteY40" fmla="*/ 63500 h 473871"/>
                    <a:gd name="connsiteX41" fmla="*/ 3533775 w 3784600"/>
                    <a:gd name="connsiteY41" fmla="*/ 50800 h 473871"/>
                    <a:gd name="connsiteX42" fmla="*/ 3533775 w 3784600"/>
                    <a:gd name="connsiteY42" fmla="*/ 50800 h 473871"/>
                    <a:gd name="connsiteX43" fmla="*/ 3600450 w 3784600"/>
                    <a:gd name="connsiteY43" fmla="*/ 60325 h 473871"/>
                    <a:gd name="connsiteX44" fmla="*/ 3648075 w 3784600"/>
                    <a:gd name="connsiteY44" fmla="*/ 50800 h 473871"/>
                    <a:gd name="connsiteX45" fmla="*/ 3683000 w 3784600"/>
                    <a:gd name="connsiteY45" fmla="*/ 34925 h 473871"/>
                    <a:gd name="connsiteX46" fmla="*/ 3683000 w 3784600"/>
                    <a:gd name="connsiteY46" fmla="*/ 31750 h 473871"/>
                    <a:gd name="connsiteX47" fmla="*/ 3698875 w 3784600"/>
                    <a:gd name="connsiteY47" fmla="*/ 31750 h 473871"/>
                    <a:gd name="connsiteX48" fmla="*/ 3756025 w 3784600"/>
                    <a:gd name="connsiteY48" fmla="*/ 31750 h 473871"/>
                    <a:gd name="connsiteX49" fmla="*/ 3768725 w 3784600"/>
                    <a:gd name="connsiteY49" fmla="*/ 31750 h 473871"/>
                    <a:gd name="connsiteX50" fmla="*/ 3784600 w 3784600"/>
                    <a:gd name="connsiteY50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33375 w 3784600"/>
                    <a:gd name="connsiteY9" fmla="*/ 127000 h 473871"/>
                    <a:gd name="connsiteX10" fmla="*/ 381000 w 3784600"/>
                    <a:gd name="connsiteY10" fmla="*/ 127000 h 473871"/>
                    <a:gd name="connsiteX11" fmla="*/ 1800225 w 3784600"/>
                    <a:gd name="connsiteY11" fmla="*/ 123825 h 473871"/>
                    <a:gd name="connsiteX12" fmla="*/ 1943100 w 3784600"/>
                    <a:gd name="connsiteY12" fmla="*/ 120650 h 473871"/>
                    <a:gd name="connsiteX13" fmla="*/ 2041525 w 3784600"/>
                    <a:gd name="connsiteY13" fmla="*/ 12700 h 473871"/>
                    <a:gd name="connsiteX14" fmla="*/ 2079625 w 3784600"/>
                    <a:gd name="connsiteY14" fmla="*/ 0 h 473871"/>
                    <a:gd name="connsiteX15" fmla="*/ 2152650 w 3784600"/>
                    <a:gd name="connsiteY15" fmla="*/ 0 h 473871"/>
                    <a:gd name="connsiteX16" fmla="*/ 2197100 w 3784600"/>
                    <a:gd name="connsiteY16" fmla="*/ 28575 h 473871"/>
                    <a:gd name="connsiteX17" fmla="*/ 2247900 w 3784600"/>
                    <a:gd name="connsiteY17" fmla="*/ 38100 h 473871"/>
                    <a:gd name="connsiteX18" fmla="*/ 2301875 w 3784600"/>
                    <a:gd name="connsiteY18" fmla="*/ 47625 h 473871"/>
                    <a:gd name="connsiteX19" fmla="*/ 2317750 w 3784600"/>
                    <a:gd name="connsiteY19" fmla="*/ 69850 h 473871"/>
                    <a:gd name="connsiteX20" fmla="*/ 2390775 w 3784600"/>
                    <a:gd name="connsiteY20" fmla="*/ 63500 h 473871"/>
                    <a:gd name="connsiteX21" fmla="*/ 2454275 w 3784600"/>
                    <a:gd name="connsiteY21" fmla="*/ 85725 h 473871"/>
                    <a:gd name="connsiteX22" fmla="*/ 2489200 w 3784600"/>
                    <a:gd name="connsiteY22" fmla="*/ 79375 h 473871"/>
                    <a:gd name="connsiteX23" fmla="*/ 2559050 w 3784600"/>
                    <a:gd name="connsiteY23" fmla="*/ 107950 h 473871"/>
                    <a:gd name="connsiteX24" fmla="*/ 2590800 w 3784600"/>
                    <a:gd name="connsiteY24" fmla="*/ 123825 h 473871"/>
                    <a:gd name="connsiteX25" fmla="*/ 2657475 w 3784600"/>
                    <a:gd name="connsiteY25" fmla="*/ 133350 h 473871"/>
                    <a:gd name="connsiteX26" fmla="*/ 2765425 w 3784600"/>
                    <a:gd name="connsiteY26" fmla="*/ 161925 h 473871"/>
                    <a:gd name="connsiteX27" fmla="*/ 2806700 w 3784600"/>
                    <a:gd name="connsiteY27" fmla="*/ 133350 h 473871"/>
                    <a:gd name="connsiteX28" fmla="*/ 2889250 w 3784600"/>
                    <a:gd name="connsiteY28" fmla="*/ 130175 h 473871"/>
                    <a:gd name="connsiteX29" fmla="*/ 3032125 w 3784600"/>
                    <a:gd name="connsiteY29" fmla="*/ 98425 h 473871"/>
                    <a:gd name="connsiteX30" fmla="*/ 3086100 w 3784600"/>
                    <a:gd name="connsiteY30" fmla="*/ 101600 h 473871"/>
                    <a:gd name="connsiteX31" fmla="*/ 3121025 w 3784600"/>
                    <a:gd name="connsiteY31" fmla="*/ 47625 h 473871"/>
                    <a:gd name="connsiteX32" fmla="*/ 3162300 w 3784600"/>
                    <a:gd name="connsiteY32" fmla="*/ 31750 h 473871"/>
                    <a:gd name="connsiteX33" fmla="*/ 3209925 w 3784600"/>
                    <a:gd name="connsiteY33" fmla="*/ 31750 h 473871"/>
                    <a:gd name="connsiteX34" fmla="*/ 3257550 w 3784600"/>
                    <a:gd name="connsiteY34" fmla="*/ 73025 h 473871"/>
                    <a:gd name="connsiteX35" fmla="*/ 3286125 w 3784600"/>
                    <a:gd name="connsiteY35" fmla="*/ 98425 h 473871"/>
                    <a:gd name="connsiteX36" fmla="*/ 3343275 w 3784600"/>
                    <a:gd name="connsiteY36" fmla="*/ 19050 h 473871"/>
                    <a:gd name="connsiteX37" fmla="*/ 3365500 w 3784600"/>
                    <a:gd name="connsiteY37" fmla="*/ 34925 h 473871"/>
                    <a:gd name="connsiteX38" fmla="*/ 3403600 w 3784600"/>
                    <a:gd name="connsiteY38" fmla="*/ 60325 h 473871"/>
                    <a:gd name="connsiteX39" fmla="*/ 3470275 w 3784600"/>
                    <a:gd name="connsiteY39" fmla="*/ 63500 h 473871"/>
                    <a:gd name="connsiteX40" fmla="*/ 3533775 w 3784600"/>
                    <a:gd name="connsiteY40" fmla="*/ 50800 h 473871"/>
                    <a:gd name="connsiteX41" fmla="*/ 3533775 w 3784600"/>
                    <a:gd name="connsiteY41" fmla="*/ 50800 h 473871"/>
                    <a:gd name="connsiteX42" fmla="*/ 3600450 w 3784600"/>
                    <a:gd name="connsiteY42" fmla="*/ 60325 h 473871"/>
                    <a:gd name="connsiteX43" fmla="*/ 3648075 w 3784600"/>
                    <a:gd name="connsiteY43" fmla="*/ 50800 h 473871"/>
                    <a:gd name="connsiteX44" fmla="*/ 3683000 w 3784600"/>
                    <a:gd name="connsiteY44" fmla="*/ 34925 h 473871"/>
                    <a:gd name="connsiteX45" fmla="*/ 3683000 w 3784600"/>
                    <a:gd name="connsiteY45" fmla="*/ 31750 h 473871"/>
                    <a:gd name="connsiteX46" fmla="*/ 3698875 w 3784600"/>
                    <a:gd name="connsiteY46" fmla="*/ 31750 h 473871"/>
                    <a:gd name="connsiteX47" fmla="*/ 3756025 w 3784600"/>
                    <a:gd name="connsiteY47" fmla="*/ 31750 h 473871"/>
                    <a:gd name="connsiteX48" fmla="*/ 3768725 w 3784600"/>
                    <a:gd name="connsiteY48" fmla="*/ 31750 h 473871"/>
                    <a:gd name="connsiteX49" fmla="*/ 3784600 w 3784600"/>
                    <a:gd name="connsiteY49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298450 w 3784600"/>
                    <a:gd name="connsiteY8" fmla="*/ 158750 h 473871"/>
                    <a:gd name="connsiteX9" fmla="*/ 381000 w 3784600"/>
                    <a:gd name="connsiteY9" fmla="*/ 127000 h 473871"/>
                    <a:gd name="connsiteX10" fmla="*/ 1800225 w 3784600"/>
                    <a:gd name="connsiteY10" fmla="*/ 123825 h 473871"/>
                    <a:gd name="connsiteX11" fmla="*/ 1943100 w 3784600"/>
                    <a:gd name="connsiteY11" fmla="*/ 120650 h 473871"/>
                    <a:gd name="connsiteX12" fmla="*/ 2041525 w 3784600"/>
                    <a:gd name="connsiteY12" fmla="*/ 12700 h 473871"/>
                    <a:gd name="connsiteX13" fmla="*/ 2079625 w 3784600"/>
                    <a:gd name="connsiteY13" fmla="*/ 0 h 473871"/>
                    <a:gd name="connsiteX14" fmla="*/ 2152650 w 3784600"/>
                    <a:gd name="connsiteY14" fmla="*/ 0 h 473871"/>
                    <a:gd name="connsiteX15" fmla="*/ 2197100 w 3784600"/>
                    <a:gd name="connsiteY15" fmla="*/ 28575 h 473871"/>
                    <a:gd name="connsiteX16" fmla="*/ 2247900 w 3784600"/>
                    <a:gd name="connsiteY16" fmla="*/ 38100 h 473871"/>
                    <a:gd name="connsiteX17" fmla="*/ 2301875 w 3784600"/>
                    <a:gd name="connsiteY17" fmla="*/ 47625 h 473871"/>
                    <a:gd name="connsiteX18" fmla="*/ 2317750 w 3784600"/>
                    <a:gd name="connsiteY18" fmla="*/ 69850 h 473871"/>
                    <a:gd name="connsiteX19" fmla="*/ 2390775 w 3784600"/>
                    <a:gd name="connsiteY19" fmla="*/ 63500 h 473871"/>
                    <a:gd name="connsiteX20" fmla="*/ 2454275 w 3784600"/>
                    <a:gd name="connsiteY20" fmla="*/ 85725 h 473871"/>
                    <a:gd name="connsiteX21" fmla="*/ 2489200 w 3784600"/>
                    <a:gd name="connsiteY21" fmla="*/ 79375 h 473871"/>
                    <a:gd name="connsiteX22" fmla="*/ 2559050 w 3784600"/>
                    <a:gd name="connsiteY22" fmla="*/ 107950 h 473871"/>
                    <a:gd name="connsiteX23" fmla="*/ 2590800 w 3784600"/>
                    <a:gd name="connsiteY23" fmla="*/ 123825 h 473871"/>
                    <a:gd name="connsiteX24" fmla="*/ 2657475 w 3784600"/>
                    <a:gd name="connsiteY24" fmla="*/ 133350 h 473871"/>
                    <a:gd name="connsiteX25" fmla="*/ 2765425 w 3784600"/>
                    <a:gd name="connsiteY25" fmla="*/ 161925 h 473871"/>
                    <a:gd name="connsiteX26" fmla="*/ 2806700 w 3784600"/>
                    <a:gd name="connsiteY26" fmla="*/ 133350 h 473871"/>
                    <a:gd name="connsiteX27" fmla="*/ 2889250 w 3784600"/>
                    <a:gd name="connsiteY27" fmla="*/ 130175 h 473871"/>
                    <a:gd name="connsiteX28" fmla="*/ 3032125 w 3784600"/>
                    <a:gd name="connsiteY28" fmla="*/ 98425 h 473871"/>
                    <a:gd name="connsiteX29" fmla="*/ 3086100 w 3784600"/>
                    <a:gd name="connsiteY29" fmla="*/ 101600 h 473871"/>
                    <a:gd name="connsiteX30" fmla="*/ 3121025 w 3784600"/>
                    <a:gd name="connsiteY30" fmla="*/ 47625 h 473871"/>
                    <a:gd name="connsiteX31" fmla="*/ 3162300 w 3784600"/>
                    <a:gd name="connsiteY31" fmla="*/ 31750 h 473871"/>
                    <a:gd name="connsiteX32" fmla="*/ 3209925 w 3784600"/>
                    <a:gd name="connsiteY32" fmla="*/ 31750 h 473871"/>
                    <a:gd name="connsiteX33" fmla="*/ 3257550 w 3784600"/>
                    <a:gd name="connsiteY33" fmla="*/ 73025 h 473871"/>
                    <a:gd name="connsiteX34" fmla="*/ 3286125 w 3784600"/>
                    <a:gd name="connsiteY34" fmla="*/ 98425 h 473871"/>
                    <a:gd name="connsiteX35" fmla="*/ 3343275 w 3784600"/>
                    <a:gd name="connsiteY35" fmla="*/ 19050 h 473871"/>
                    <a:gd name="connsiteX36" fmla="*/ 3365500 w 3784600"/>
                    <a:gd name="connsiteY36" fmla="*/ 34925 h 473871"/>
                    <a:gd name="connsiteX37" fmla="*/ 3403600 w 3784600"/>
                    <a:gd name="connsiteY37" fmla="*/ 60325 h 473871"/>
                    <a:gd name="connsiteX38" fmla="*/ 3470275 w 3784600"/>
                    <a:gd name="connsiteY38" fmla="*/ 63500 h 473871"/>
                    <a:gd name="connsiteX39" fmla="*/ 3533775 w 3784600"/>
                    <a:gd name="connsiteY39" fmla="*/ 50800 h 473871"/>
                    <a:gd name="connsiteX40" fmla="*/ 3533775 w 3784600"/>
                    <a:gd name="connsiteY40" fmla="*/ 50800 h 473871"/>
                    <a:gd name="connsiteX41" fmla="*/ 3600450 w 3784600"/>
                    <a:gd name="connsiteY41" fmla="*/ 60325 h 473871"/>
                    <a:gd name="connsiteX42" fmla="*/ 3648075 w 3784600"/>
                    <a:gd name="connsiteY42" fmla="*/ 50800 h 473871"/>
                    <a:gd name="connsiteX43" fmla="*/ 3683000 w 3784600"/>
                    <a:gd name="connsiteY43" fmla="*/ 34925 h 473871"/>
                    <a:gd name="connsiteX44" fmla="*/ 3683000 w 3784600"/>
                    <a:gd name="connsiteY44" fmla="*/ 31750 h 473871"/>
                    <a:gd name="connsiteX45" fmla="*/ 3698875 w 3784600"/>
                    <a:gd name="connsiteY45" fmla="*/ 31750 h 473871"/>
                    <a:gd name="connsiteX46" fmla="*/ 3756025 w 3784600"/>
                    <a:gd name="connsiteY46" fmla="*/ 31750 h 473871"/>
                    <a:gd name="connsiteX47" fmla="*/ 3768725 w 3784600"/>
                    <a:gd name="connsiteY47" fmla="*/ 31750 h 473871"/>
                    <a:gd name="connsiteX48" fmla="*/ 3784600 w 3784600"/>
                    <a:gd name="connsiteY48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295275 w 3784600"/>
                    <a:gd name="connsiteY7" fmla="*/ 247650 h 473871"/>
                    <a:gd name="connsiteX8" fmla="*/ 381000 w 3784600"/>
                    <a:gd name="connsiteY8" fmla="*/ 127000 h 473871"/>
                    <a:gd name="connsiteX9" fmla="*/ 1800225 w 3784600"/>
                    <a:gd name="connsiteY9" fmla="*/ 123825 h 473871"/>
                    <a:gd name="connsiteX10" fmla="*/ 1943100 w 3784600"/>
                    <a:gd name="connsiteY10" fmla="*/ 120650 h 473871"/>
                    <a:gd name="connsiteX11" fmla="*/ 2041525 w 3784600"/>
                    <a:gd name="connsiteY11" fmla="*/ 12700 h 473871"/>
                    <a:gd name="connsiteX12" fmla="*/ 2079625 w 3784600"/>
                    <a:gd name="connsiteY12" fmla="*/ 0 h 473871"/>
                    <a:gd name="connsiteX13" fmla="*/ 2152650 w 3784600"/>
                    <a:gd name="connsiteY13" fmla="*/ 0 h 473871"/>
                    <a:gd name="connsiteX14" fmla="*/ 2197100 w 3784600"/>
                    <a:gd name="connsiteY14" fmla="*/ 28575 h 473871"/>
                    <a:gd name="connsiteX15" fmla="*/ 2247900 w 3784600"/>
                    <a:gd name="connsiteY15" fmla="*/ 38100 h 473871"/>
                    <a:gd name="connsiteX16" fmla="*/ 2301875 w 3784600"/>
                    <a:gd name="connsiteY16" fmla="*/ 47625 h 473871"/>
                    <a:gd name="connsiteX17" fmla="*/ 2317750 w 3784600"/>
                    <a:gd name="connsiteY17" fmla="*/ 69850 h 473871"/>
                    <a:gd name="connsiteX18" fmla="*/ 2390775 w 3784600"/>
                    <a:gd name="connsiteY18" fmla="*/ 63500 h 473871"/>
                    <a:gd name="connsiteX19" fmla="*/ 2454275 w 3784600"/>
                    <a:gd name="connsiteY19" fmla="*/ 85725 h 473871"/>
                    <a:gd name="connsiteX20" fmla="*/ 2489200 w 3784600"/>
                    <a:gd name="connsiteY20" fmla="*/ 79375 h 473871"/>
                    <a:gd name="connsiteX21" fmla="*/ 2559050 w 3784600"/>
                    <a:gd name="connsiteY21" fmla="*/ 107950 h 473871"/>
                    <a:gd name="connsiteX22" fmla="*/ 2590800 w 3784600"/>
                    <a:gd name="connsiteY22" fmla="*/ 123825 h 473871"/>
                    <a:gd name="connsiteX23" fmla="*/ 2657475 w 3784600"/>
                    <a:gd name="connsiteY23" fmla="*/ 133350 h 473871"/>
                    <a:gd name="connsiteX24" fmla="*/ 2765425 w 3784600"/>
                    <a:gd name="connsiteY24" fmla="*/ 161925 h 473871"/>
                    <a:gd name="connsiteX25" fmla="*/ 2806700 w 3784600"/>
                    <a:gd name="connsiteY25" fmla="*/ 133350 h 473871"/>
                    <a:gd name="connsiteX26" fmla="*/ 2889250 w 3784600"/>
                    <a:gd name="connsiteY26" fmla="*/ 130175 h 473871"/>
                    <a:gd name="connsiteX27" fmla="*/ 3032125 w 3784600"/>
                    <a:gd name="connsiteY27" fmla="*/ 98425 h 473871"/>
                    <a:gd name="connsiteX28" fmla="*/ 3086100 w 3784600"/>
                    <a:gd name="connsiteY28" fmla="*/ 101600 h 473871"/>
                    <a:gd name="connsiteX29" fmla="*/ 3121025 w 3784600"/>
                    <a:gd name="connsiteY29" fmla="*/ 47625 h 473871"/>
                    <a:gd name="connsiteX30" fmla="*/ 3162300 w 3784600"/>
                    <a:gd name="connsiteY30" fmla="*/ 31750 h 473871"/>
                    <a:gd name="connsiteX31" fmla="*/ 3209925 w 3784600"/>
                    <a:gd name="connsiteY31" fmla="*/ 31750 h 473871"/>
                    <a:gd name="connsiteX32" fmla="*/ 3257550 w 3784600"/>
                    <a:gd name="connsiteY32" fmla="*/ 73025 h 473871"/>
                    <a:gd name="connsiteX33" fmla="*/ 3286125 w 3784600"/>
                    <a:gd name="connsiteY33" fmla="*/ 98425 h 473871"/>
                    <a:gd name="connsiteX34" fmla="*/ 3343275 w 3784600"/>
                    <a:gd name="connsiteY34" fmla="*/ 19050 h 473871"/>
                    <a:gd name="connsiteX35" fmla="*/ 3365500 w 3784600"/>
                    <a:gd name="connsiteY35" fmla="*/ 34925 h 473871"/>
                    <a:gd name="connsiteX36" fmla="*/ 3403600 w 3784600"/>
                    <a:gd name="connsiteY36" fmla="*/ 60325 h 473871"/>
                    <a:gd name="connsiteX37" fmla="*/ 3470275 w 3784600"/>
                    <a:gd name="connsiteY37" fmla="*/ 63500 h 473871"/>
                    <a:gd name="connsiteX38" fmla="*/ 3533775 w 3784600"/>
                    <a:gd name="connsiteY38" fmla="*/ 50800 h 473871"/>
                    <a:gd name="connsiteX39" fmla="*/ 3533775 w 3784600"/>
                    <a:gd name="connsiteY39" fmla="*/ 50800 h 473871"/>
                    <a:gd name="connsiteX40" fmla="*/ 3600450 w 3784600"/>
                    <a:gd name="connsiteY40" fmla="*/ 60325 h 473871"/>
                    <a:gd name="connsiteX41" fmla="*/ 3648075 w 3784600"/>
                    <a:gd name="connsiteY41" fmla="*/ 50800 h 473871"/>
                    <a:gd name="connsiteX42" fmla="*/ 3683000 w 3784600"/>
                    <a:gd name="connsiteY42" fmla="*/ 34925 h 473871"/>
                    <a:gd name="connsiteX43" fmla="*/ 3683000 w 3784600"/>
                    <a:gd name="connsiteY43" fmla="*/ 31750 h 473871"/>
                    <a:gd name="connsiteX44" fmla="*/ 3698875 w 3784600"/>
                    <a:gd name="connsiteY44" fmla="*/ 31750 h 473871"/>
                    <a:gd name="connsiteX45" fmla="*/ 3756025 w 3784600"/>
                    <a:gd name="connsiteY45" fmla="*/ 31750 h 473871"/>
                    <a:gd name="connsiteX46" fmla="*/ 3768725 w 3784600"/>
                    <a:gd name="connsiteY46" fmla="*/ 31750 h 473871"/>
                    <a:gd name="connsiteX47" fmla="*/ 3784600 w 3784600"/>
                    <a:gd name="connsiteY47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28600 w 3784600"/>
                    <a:gd name="connsiteY5" fmla="*/ 355600 h 473871"/>
                    <a:gd name="connsiteX6" fmla="*/ 269875 w 3784600"/>
                    <a:gd name="connsiteY6" fmla="*/ 333375 h 473871"/>
                    <a:gd name="connsiteX7" fmla="*/ 381000 w 3784600"/>
                    <a:gd name="connsiteY7" fmla="*/ 127000 h 473871"/>
                    <a:gd name="connsiteX8" fmla="*/ 1800225 w 3784600"/>
                    <a:gd name="connsiteY8" fmla="*/ 123825 h 473871"/>
                    <a:gd name="connsiteX9" fmla="*/ 1943100 w 3784600"/>
                    <a:gd name="connsiteY9" fmla="*/ 120650 h 473871"/>
                    <a:gd name="connsiteX10" fmla="*/ 2041525 w 3784600"/>
                    <a:gd name="connsiteY10" fmla="*/ 12700 h 473871"/>
                    <a:gd name="connsiteX11" fmla="*/ 2079625 w 3784600"/>
                    <a:gd name="connsiteY11" fmla="*/ 0 h 473871"/>
                    <a:gd name="connsiteX12" fmla="*/ 2152650 w 3784600"/>
                    <a:gd name="connsiteY12" fmla="*/ 0 h 473871"/>
                    <a:gd name="connsiteX13" fmla="*/ 2197100 w 3784600"/>
                    <a:gd name="connsiteY13" fmla="*/ 28575 h 473871"/>
                    <a:gd name="connsiteX14" fmla="*/ 2247900 w 3784600"/>
                    <a:gd name="connsiteY14" fmla="*/ 38100 h 473871"/>
                    <a:gd name="connsiteX15" fmla="*/ 2301875 w 3784600"/>
                    <a:gd name="connsiteY15" fmla="*/ 47625 h 473871"/>
                    <a:gd name="connsiteX16" fmla="*/ 2317750 w 3784600"/>
                    <a:gd name="connsiteY16" fmla="*/ 69850 h 473871"/>
                    <a:gd name="connsiteX17" fmla="*/ 2390775 w 3784600"/>
                    <a:gd name="connsiteY17" fmla="*/ 63500 h 473871"/>
                    <a:gd name="connsiteX18" fmla="*/ 2454275 w 3784600"/>
                    <a:gd name="connsiteY18" fmla="*/ 85725 h 473871"/>
                    <a:gd name="connsiteX19" fmla="*/ 2489200 w 3784600"/>
                    <a:gd name="connsiteY19" fmla="*/ 79375 h 473871"/>
                    <a:gd name="connsiteX20" fmla="*/ 2559050 w 3784600"/>
                    <a:gd name="connsiteY20" fmla="*/ 107950 h 473871"/>
                    <a:gd name="connsiteX21" fmla="*/ 2590800 w 3784600"/>
                    <a:gd name="connsiteY21" fmla="*/ 123825 h 473871"/>
                    <a:gd name="connsiteX22" fmla="*/ 2657475 w 3784600"/>
                    <a:gd name="connsiteY22" fmla="*/ 133350 h 473871"/>
                    <a:gd name="connsiteX23" fmla="*/ 2765425 w 3784600"/>
                    <a:gd name="connsiteY23" fmla="*/ 161925 h 473871"/>
                    <a:gd name="connsiteX24" fmla="*/ 2806700 w 3784600"/>
                    <a:gd name="connsiteY24" fmla="*/ 133350 h 473871"/>
                    <a:gd name="connsiteX25" fmla="*/ 2889250 w 3784600"/>
                    <a:gd name="connsiteY25" fmla="*/ 130175 h 473871"/>
                    <a:gd name="connsiteX26" fmla="*/ 3032125 w 3784600"/>
                    <a:gd name="connsiteY26" fmla="*/ 98425 h 473871"/>
                    <a:gd name="connsiteX27" fmla="*/ 3086100 w 3784600"/>
                    <a:gd name="connsiteY27" fmla="*/ 101600 h 473871"/>
                    <a:gd name="connsiteX28" fmla="*/ 3121025 w 3784600"/>
                    <a:gd name="connsiteY28" fmla="*/ 47625 h 473871"/>
                    <a:gd name="connsiteX29" fmla="*/ 3162300 w 3784600"/>
                    <a:gd name="connsiteY29" fmla="*/ 31750 h 473871"/>
                    <a:gd name="connsiteX30" fmla="*/ 3209925 w 3784600"/>
                    <a:gd name="connsiteY30" fmla="*/ 31750 h 473871"/>
                    <a:gd name="connsiteX31" fmla="*/ 3257550 w 3784600"/>
                    <a:gd name="connsiteY31" fmla="*/ 73025 h 473871"/>
                    <a:gd name="connsiteX32" fmla="*/ 3286125 w 3784600"/>
                    <a:gd name="connsiteY32" fmla="*/ 98425 h 473871"/>
                    <a:gd name="connsiteX33" fmla="*/ 3343275 w 3784600"/>
                    <a:gd name="connsiteY33" fmla="*/ 19050 h 473871"/>
                    <a:gd name="connsiteX34" fmla="*/ 3365500 w 3784600"/>
                    <a:gd name="connsiteY34" fmla="*/ 34925 h 473871"/>
                    <a:gd name="connsiteX35" fmla="*/ 3403600 w 3784600"/>
                    <a:gd name="connsiteY35" fmla="*/ 60325 h 473871"/>
                    <a:gd name="connsiteX36" fmla="*/ 3470275 w 3784600"/>
                    <a:gd name="connsiteY36" fmla="*/ 63500 h 473871"/>
                    <a:gd name="connsiteX37" fmla="*/ 3533775 w 3784600"/>
                    <a:gd name="connsiteY37" fmla="*/ 50800 h 473871"/>
                    <a:gd name="connsiteX38" fmla="*/ 3533775 w 3784600"/>
                    <a:gd name="connsiteY38" fmla="*/ 50800 h 473871"/>
                    <a:gd name="connsiteX39" fmla="*/ 3600450 w 3784600"/>
                    <a:gd name="connsiteY39" fmla="*/ 60325 h 473871"/>
                    <a:gd name="connsiteX40" fmla="*/ 3648075 w 3784600"/>
                    <a:gd name="connsiteY40" fmla="*/ 50800 h 473871"/>
                    <a:gd name="connsiteX41" fmla="*/ 3683000 w 3784600"/>
                    <a:gd name="connsiteY41" fmla="*/ 34925 h 473871"/>
                    <a:gd name="connsiteX42" fmla="*/ 3683000 w 3784600"/>
                    <a:gd name="connsiteY42" fmla="*/ 31750 h 473871"/>
                    <a:gd name="connsiteX43" fmla="*/ 3698875 w 3784600"/>
                    <a:gd name="connsiteY43" fmla="*/ 31750 h 473871"/>
                    <a:gd name="connsiteX44" fmla="*/ 3756025 w 3784600"/>
                    <a:gd name="connsiteY44" fmla="*/ 31750 h 473871"/>
                    <a:gd name="connsiteX45" fmla="*/ 3768725 w 3784600"/>
                    <a:gd name="connsiteY45" fmla="*/ 31750 h 473871"/>
                    <a:gd name="connsiteX46" fmla="*/ 3784600 w 3784600"/>
                    <a:gd name="connsiteY46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269875 w 3784600"/>
                    <a:gd name="connsiteY5" fmla="*/ 333375 h 473871"/>
                    <a:gd name="connsiteX6" fmla="*/ 381000 w 3784600"/>
                    <a:gd name="connsiteY6" fmla="*/ 127000 h 473871"/>
                    <a:gd name="connsiteX7" fmla="*/ 1800225 w 3784600"/>
                    <a:gd name="connsiteY7" fmla="*/ 123825 h 473871"/>
                    <a:gd name="connsiteX8" fmla="*/ 1943100 w 3784600"/>
                    <a:gd name="connsiteY8" fmla="*/ 120650 h 473871"/>
                    <a:gd name="connsiteX9" fmla="*/ 2041525 w 3784600"/>
                    <a:gd name="connsiteY9" fmla="*/ 12700 h 473871"/>
                    <a:gd name="connsiteX10" fmla="*/ 2079625 w 3784600"/>
                    <a:gd name="connsiteY10" fmla="*/ 0 h 473871"/>
                    <a:gd name="connsiteX11" fmla="*/ 2152650 w 3784600"/>
                    <a:gd name="connsiteY11" fmla="*/ 0 h 473871"/>
                    <a:gd name="connsiteX12" fmla="*/ 2197100 w 3784600"/>
                    <a:gd name="connsiteY12" fmla="*/ 28575 h 473871"/>
                    <a:gd name="connsiteX13" fmla="*/ 2247900 w 3784600"/>
                    <a:gd name="connsiteY13" fmla="*/ 38100 h 473871"/>
                    <a:gd name="connsiteX14" fmla="*/ 2301875 w 3784600"/>
                    <a:gd name="connsiteY14" fmla="*/ 47625 h 473871"/>
                    <a:gd name="connsiteX15" fmla="*/ 2317750 w 3784600"/>
                    <a:gd name="connsiteY15" fmla="*/ 69850 h 473871"/>
                    <a:gd name="connsiteX16" fmla="*/ 2390775 w 3784600"/>
                    <a:gd name="connsiteY16" fmla="*/ 63500 h 473871"/>
                    <a:gd name="connsiteX17" fmla="*/ 2454275 w 3784600"/>
                    <a:gd name="connsiteY17" fmla="*/ 85725 h 473871"/>
                    <a:gd name="connsiteX18" fmla="*/ 2489200 w 3784600"/>
                    <a:gd name="connsiteY18" fmla="*/ 79375 h 473871"/>
                    <a:gd name="connsiteX19" fmla="*/ 2559050 w 3784600"/>
                    <a:gd name="connsiteY19" fmla="*/ 107950 h 473871"/>
                    <a:gd name="connsiteX20" fmla="*/ 2590800 w 3784600"/>
                    <a:gd name="connsiteY20" fmla="*/ 123825 h 473871"/>
                    <a:gd name="connsiteX21" fmla="*/ 2657475 w 3784600"/>
                    <a:gd name="connsiteY21" fmla="*/ 133350 h 473871"/>
                    <a:gd name="connsiteX22" fmla="*/ 2765425 w 3784600"/>
                    <a:gd name="connsiteY22" fmla="*/ 161925 h 473871"/>
                    <a:gd name="connsiteX23" fmla="*/ 2806700 w 3784600"/>
                    <a:gd name="connsiteY23" fmla="*/ 133350 h 473871"/>
                    <a:gd name="connsiteX24" fmla="*/ 2889250 w 3784600"/>
                    <a:gd name="connsiteY24" fmla="*/ 130175 h 473871"/>
                    <a:gd name="connsiteX25" fmla="*/ 3032125 w 3784600"/>
                    <a:gd name="connsiteY25" fmla="*/ 98425 h 473871"/>
                    <a:gd name="connsiteX26" fmla="*/ 3086100 w 3784600"/>
                    <a:gd name="connsiteY26" fmla="*/ 101600 h 473871"/>
                    <a:gd name="connsiteX27" fmla="*/ 3121025 w 3784600"/>
                    <a:gd name="connsiteY27" fmla="*/ 47625 h 473871"/>
                    <a:gd name="connsiteX28" fmla="*/ 3162300 w 3784600"/>
                    <a:gd name="connsiteY28" fmla="*/ 31750 h 473871"/>
                    <a:gd name="connsiteX29" fmla="*/ 3209925 w 3784600"/>
                    <a:gd name="connsiteY29" fmla="*/ 31750 h 473871"/>
                    <a:gd name="connsiteX30" fmla="*/ 3257550 w 3784600"/>
                    <a:gd name="connsiteY30" fmla="*/ 73025 h 473871"/>
                    <a:gd name="connsiteX31" fmla="*/ 3286125 w 3784600"/>
                    <a:gd name="connsiteY31" fmla="*/ 98425 h 473871"/>
                    <a:gd name="connsiteX32" fmla="*/ 3343275 w 3784600"/>
                    <a:gd name="connsiteY32" fmla="*/ 19050 h 473871"/>
                    <a:gd name="connsiteX33" fmla="*/ 3365500 w 3784600"/>
                    <a:gd name="connsiteY33" fmla="*/ 34925 h 473871"/>
                    <a:gd name="connsiteX34" fmla="*/ 3403600 w 3784600"/>
                    <a:gd name="connsiteY34" fmla="*/ 60325 h 473871"/>
                    <a:gd name="connsiteX35" fmla="*/ 3470275 w 3784600"/>
                    <a:gd name="connsiteY35" fmla="*/ 63500 h 473871"/>
                    <a:gd name="connsiteX36" fmla="*/ 3533775 w 3784600"/>
                    <a:gd name="connsiteY36" fmla="*/ 50800 h 473871"/>
                    <a:gd name="connsiteX37" fmla="*/ 3533775 w 3784600"/>
                    <a:gd name="connsiteY37" fmla="*/ 50800 h 473871"/>
                    <a:gd name="connsiteX38" fmla="*/ 3600450 w 3784600"/>
                    <a:gd name="connsiteY38" fmla="*/ 60325 h 473871"/>
                    <a:gd name="connsiteX39" fmla="*/ 3648075 w 3784600"/>
                    <a:gd name="connsiteY39" fmla="*/ 50800 h 473871"/>
                    <a:gd name="connsiteX40" fmla="*/ 3683000 w 3784600"/>
                    <a:gd name="connsiteY40" fmla="*/ 34925 h 473871"/>
                    <a:gd name="connsiteX41" fmla="*/ 3683000 w 3784600"/>
                    <a:gd name="connsiteY41" fmla="*/ 31750 h 473871"/>
                    <a:gd name="connsiteX42" fmla="*/ 3698875 w 3784600"/>
                    <a:gd name="connsiteY42" fmla="*/ 31750 h 473871"/>
                    <a:gd name="connsiteX43" fmla="*/ 3756025 w 3784600"/>
                    <a:gd name="connsiteY43" fmla="*/ 31750 h 473871"/>
                    <a:gd name="connsiteX44" fmla="*/ 3768725 w 3784600"/>
                    <a:gd name="connsiteY44" fmla="*/ 31750 h 473871"/>
                    <a:gd name="connsiteX45" fmla="*/ 3784600 w 3784600"/>
                    <a:gd name="connsiteY45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184150 w 3784600"/>
                    <a:gd name="connsiteY4" fmla="*/ 431800 h 473871"/>
                    <a:gd name="connsiteX5" fmla="*/ 381000 w 3784600"/>
                    <a:gd name="connsiteY5" fmla="*/ 127000 h 473871"/>
                    <a:gd name="connsiteX6" fmla="*/ 1800225 w 3784600"/>
                    <a:gd name="connsiteY6" fmla="*/ 123825 h 473871"/>
                    <a:gd name="connsiteX7" fmla="*/ 1943100 w 3784600"/>
                    <a:gd name="connsiteY7" fmla="*/ 120650 h 473871"/>
                    <a:gd name="connsiteX8" fmla="*/ 2041525 w 3784600"/>
                    <a:gd name="connsiteY8" fmla="*/ 12700 h 473871"/>
                    <a:gd name="connsiteX9" fmla="*/ 2079625 w 3784600"/>
                    <a:gd name="connsiteY9" fmla="*/ 0 h 473871"/>
                    <a:gd name="connsiteX10" fmla="*/ 2152650 w 3784600"/>
                    <a:gd name="connsiteY10" fmla="*/ 0 h 473871"/>
                    <a:gd name="connsiteX11" fmla="*/ 2197100 w 3784600"/>
                    <a:gd name="connsiteY11" fmla="*/ 28575 h 473871"/>
                    <a:gd name="connsiteX12" fmla="*/ 2247900 w 3784600"/>
                    <a:gd name="connsiteY12" fmla="*/ 38100 h 473871"/>
                    <a:gd name="connsiteX13" fmla="*/ 2301875 w 3784600"/>
                    <a:gd name="connsiteY13" fmla="*/ 47625 h 473871"/>
                    <a:gd name="connsiteX14" fmla="*/ 2317750 w 3784600"/>
                    <a:gd name="connsiteY14" fmla="*/ 69850 h 473871"/>
                    <a:gd name="connsiteX15" fmla="*/ 2390775 w 3784600"/>
                    <a:gd name="connsiteY15" fmla="*/ 63500 h 473871"/>
                    <a:gd name="connsiteX16" fmla="*/ 2454275 w 3784600"/>
                    <a:gd name="connsiteY16" fmla="*/ 85725 h 473871"/>
                    <a:gd name="connsiteX17" fmla="*/ 2489200 w 3784600"/>
                    <a:gd name="connsiteY17" fmla="*/ 79375 h 473871"/>
                    <a:gd name="connsiteX18" fmla="*/ 2559050 w 3784600"/>
                    <a:gd name="connsiteY18" fmla="*/ 107950 h 473871"/>
                    <a:gd name="connsiteX19" fmla="*/ 2590800 w 3784600"/>
                    <a:gd name="connsiteY19" fmla="*/ 123825 h 473871"/>
                    <a:gd name="connsiteX20" fmla="*/ 2657475 w 3784600"/>
                    <a:gd name="connsiteY20" fmla="*/ 133350 h 473871"/>
                    <a:gd name="connsiteX21" fmla="*/ 2765425 w 3784600"/>
                    <a:gd name="connsiteY21" fmla="*/ 161925 h 473871"/>
                    <a:gd name="connsiteX22" fmla="*/ 2806700 w 3784600"/>
                    <a:gd name="connsiteY22" fmla="*/ 133350 h 473871"/>
                    <a:gd name="connsiteX23" fmla="*/ 2889250 w 3784600"/>
                    <a:gd name="connsiteY23" fmla="*/ 130175 h 473871"/>
                    <a:gd name="connsiteX24" fmla="*/ 3032125 w 3784600"/>
                    <a:gd name="connsiteY24" fmla="*/ 98425 h 473871"/>
                    <a:gd name="connsiteX25" fmla="*/ 3086100 w 3784600"/>
                    <a:gd name="connsiteY25" fmla="*/ 101600 h 473871"/>
                    <a:gd name="connsiteX26" fmla="*/ 3121025 w 3784600"/>
                    <a:gd name="connsiteY26" fmla="*/ 47625 h 473871"/>
                    <a:gd name="connsiteX27" fmla="*/ 3162300 w 3784600"/>
                    <a:gd name="connsiteY27" fmla="*/ 31750 h 473871"/>
                    <a:gd name="connsiteX28" fmla="*/ 3209925 w 3784600"/>
                    <a:gd name="connsiteY28" fmla="*/ 31750 h 473871"/>
                    <a:gd name="connsiteX29" fmla="*/ 3257550 w 3784600"/>
                    <a:gd name="connsiteY29" fmla="*/ 73025 h 473871"/>
                    <a:gd name="connsiteX30" fmla="*/ 3286125 w 3784600"/>
                    <a:gd name="connsiteY30" fmla="*/ 98425 h 473871"/>
                    <a:gd name="connsiteX31" fmla="*/ 3343275 w 3784600"/>
                    <a:gd name="connsiteY31" fmla="*/ 19050 h 473871"/>
                    <a:gd name="connsiteX32" fmla="*/ 3365500 w 3784600"/>
                    <a:gd name="connsiteY32" fmla="*/ 34925 h 473871"/>
                    <a:gd name="connsiteX33" fmla="*/ 3403600 w 3784600"/>
                    <a:gd name="connsiteY33" fmla="*/ 60325 h 473871"/>
                    <a:gd name="connsiteX34" fmla="*/ 3470275 w 3784600"/>
                    <a:gd name="connsiteY34" fmla="*/ 63500 h 473871"/>
                    <a:gd name="connsiteX35" fmla="*/ 3533775 w 3784600"/>
                    <a:gd name="connsiteY35" fmla="*/ 50800 h 473871"/>
                    <a:gd name="connsiteX36" fmla="*/ 3533775 w 3784600"/>
                    <a:gd name="connsiteY36" fmla="*/ 50800 h 473871"/>
                    <a:gd name="connsiteX37" fmla="*/ 3600450 w 3784600"/>
                    <a:gd name="connsiteY37" fmla="*/ 60325 h 473871"/>
                    <a:gd name="connsiteX38" fmla="*/ 3648075 w 3784600"/>
                    <a:gd name="connsiteY38" fmla="*/ 50800 h 473871"/>
                    <a:gd name="connsiteX39" fmla="*/ 3683000 w 3784600"/>
                    <a:gd name="connsiteY39" fmla="*/ 34925 h 473871"/>
                    <a:gd name="connsiteX40" fmla="*/ 3683000 w 3784600"/>
                    <a:gd name="connsiteY40" fmla="*/ 31750 h 473871"/>
                    <a:gd name="connsiteX41" fmla="*/ 3698875 w 3784600"/>
                    <a:gd name="connsiteY41" fmla="*/ 31750 h 473871"/>
                    <a:gd name="connsiteX42" fmla="*/ 3756025 w 3784600"/>
                    <a:gd name="connsiteY42" fmla="*/ 31750 h 473871"/>
                    <a:gd name="connsiteX43" fmla="*/ 3768725 w 3784600"/>
                    <a:gd name="connsiteY43" fmla="*/ 31750 h 473871"/>
                    <a:gd name="connsiteX44" fmla="*/ 3784600 w 3784600"/>
                    <a:gd name="connsiteY44" fmla="*/ 31750 h 473871"/>
                    <a:gd name="connsiteX0" fmla="*/ 0 w 3784600"/>
                    <a:gd name="connsiteY0" fmla="*/ 447675 h 473871"/>
                    <a:gd name="connsiteX1" fmla="*/ 53975 w 3784600"/>
                    <a:gd name="connsiteY1" fmla="*/ 441325 h 473871"/>
                    <a:gd name="connsiteX2" fmla="*/ 85725 w 3784600"/>
                    <a:gd name="connsiteY2" fmla="*/ 469900 h 473871"/>
                    <a:gd name="connsiteX3" fmla="*/ 142875 w 3784600"/>
                    <a:gd name="connsiteY3" fmla="*/ 469900 h 473871"/>
                    <a:gd name="connsiteX4" fmla="*/ 381000 w 3784600"/>
                    <a:gd name="connsiteY4" fmla="*/ 127000 h 473871"/>
                    <a:gd name="connsiteX5" fmla="*/ 1800225 w 3784600"/>
                    <a:gd name="connsiteY5" fmla="*/ 123825 h 473871"/>
                    <a:gd name="connsiteX6" fmla="*/ 1943100 w 3784600"/>
                    <a:gd name="connsiteY6" fmla="*/ 120650 h 473871"/>
                    <a:gd name="connsiteX7" fmla="*/ 2041525 w 3784600"/>
                    <a:gd name="connsiteY7" fmla="*/ 12700 h 473871"/>
                    <a:gd name="connsiteX8" fmla="*/ 2079625 w 3784600"/>
                    <a:gd name="connsiteY8" fmla="*/ 0 h 473871"/>
                    <a:gd name="connsiteX9" fmla="*/ 2152650 w 3784600"/>
                    <a:gd name="connsiteY9" fmla="*/ 0 h 473871"/>
                    <a:gd name="connsiteX10" fmla="*/ 2197100 w 3784600"/>
                    <a:gd name="connsiteY10" fmla="*/ 28575 h 473871"/>
                    <a:gd name="connsiteX11" fmla="*/ 2247900 w 3784600"/>
                    <a:gd name="connsiteY11" fmla="*/ 38100 h 473871"/>
                    <a:gd name="connsiteX12" fmla="*/ 2301875 w 3784600"/>
                    <a:gd name="connsiteY12" fmla="*/ 47625 h 473871"/>
                    <a:gd name="connsiteX13" fmla="*/ 2317750 w 3784600"/>
                    <a:gd name="connsiteY13" fmla="*/ 69850 h 473871"/>
                    <a:gd name="connsiteX14" fmla="*/ 2390775 w 3784600"/>
                    <a:gd name="connsiteY14" fmla="*/ 63500 h 473871"/>
                    <a:gd name="connsiteX15" fmla="*/ 2454275 w 3784600"/>
                    <a:gd name="connsiteY15" fmla="*/ 85725 h 473871"/>
                    <a:gd name="connsiteX16" fmla="*/ 2489200 w 3784600"/>
                    <a:gd name="connsiteY16" fmla="*/ 79375 h 473871"/>
                    <a:gd name="connsiteX17" fmla="*/ 2559050 w 3784600"/>
                    <a:gd name="connsiteY17" fmla="*/ 107950 h 473871"/>
                    <a:gd name="connsiteX18" fmla="*/ 2590800 w 3784600"/>
                    <a:gd name="connsiteY18" fmla="*/ 123825 h 473871"/>
                    <a:gd name="connsiteX19" fmla="*/ 2657475 w 3784600"/>
                    <a:gd name="connsiteY19" fmla="*/ 133350 h 473871"/>
                    <a:gd name="connsiteX20" fmla="*/ 2765425 w 3784600"/>
                    <a:gd name="connsiteY20" fmla="*/ 161925 h 473871"/>
                    <a:gd name="connsiteX21" fmla="*/ 2806700 w 3784600"/>
                    <a:gd name="connsiteY21" fmla="*/ 133350 h 473871"/>
                    <a:gd name="connsiteX22" fmla="*/ 2889250 w 3784600"/>
                    <a:gd name="connsiteY22" fmla="*/ 130175 h 473871"/>
                    <a:gd name="connsiteX23" fmla="*/ 3032125 w 3784600"/>
                    <a:gd name="connsiteY23" fmla="*/ 98425 h 473871"/>
                    <a:gd name="connsiteX24" fmla="*/ 3086100 w 3784600"/>
                    <a:gd name="connsiteY24" fmla="*/ 101600 h 473871"/>
                    <a:gd name="connsiteX25" fmla="*/ 3121025 w 3784600"/>
                    <a:gd name="connsiteY25" fmla="*/ 47625 h 473871"/>
                    <a:gd name="connsiteX26" fmla="*/ 3162300 w 3784600"/>
                    <a:gd name="connsiteY26" fmla="*/ 31750 h 473871"/>
                    <a:gd name="connsiteX27" fmla="*/ 3209925 w 3784600"/>
                    <a:gd name="connsiteY27" fmla="*/ 31750 h 473871"/>
                    <a:gd name="connsiteX28" fmla="*/ 3257550 w 3784600"/>
                    <a:gd name="connsiteY28" fmla="*/ 73025 h 473871"/>
                    <a:gd name="connsiteX29" fmla="*/ 3286125 w 3784600"/>
                    <a:gd name="connsiteY29" fmla="*/ 98425 h 473871"/>
                    <a:gd name="connsiteX30" fmla="*/ 3343275 w 3784600"/>
                    <a:gd name="connsiteY30" fmla="*/ 19050 h 473871"/>
                    <a:gd name="connsiteX31" fmla="*/ 3365500 w 3784600"/>
                    <a:gd name="connsiteY31" fmla="*/ 34925 h 473871"/>
                    <a:gd name="connsiteX32" fmla="*/ 3403600 w 3784600"/>
                    <a:gd name="connsiteY32" fmla="*/ 60325 h 473871"/>
                    <a:gd name="connsiteX33" fmla="*/ 3470275 w 3784600"/>
                    <a:gd name="connsiteY33" fmla="*/ 63500 h 473871"/>
                    <a:gd name="connsiteX34" fmla="*/ 3533775 w 3784600"/>
                    <a:gd name="connsiteY34" fmla="*/ 50800 h 473871"/>
                    <a:gd name="connsiteX35" fmla="*/ 3533775 w 3784600"/>
                    <a:gd name="connsiteY35" fmla="*/ 50800 h 473871"/>
                    <a:gd name="connsiteX36" fmla="*/ 3600450 w 3784600"/>
                    <a:gd name="connsiteY36" fmla="*/ 60325 h 473871"/>
                    <a:gd name="connsiteX37" fmla="*/ 3648075 w 3784600"/>
                    <a:gd name="connsiteY37" fmla="*/ 50800 h 473871"/>
                    <a:gd name="connsiteX38" fmla="*/ 3683000 w 3784600"/>
                    <a:gd name="connsiteY38" fmla="*/ 34925 h 473871"/>
                    <a:gd name="connsiteX39" fmla="*/ 3683000 w 3784600"/>
                    <a:gd name="connsiteY39" fmla="*/ 31750 h 473871"/>
                    <a:gd name="connsiteX40" fmla="*/ 3698875 w 3784600"/>
                    <a:gd name="connsiteY40" fmla="*/ 31750 h 473871"/>
                    <a:gd name="connsiteX41" fmla="*/ 3756025 w 3784600"/>
                    <a:gd name="connsiteY41" fmla="*/ 31750 h 473871"/>
                    <a:gd name="connsiteX42" fmla="*/ 3768725 w 3784600"/>
                    <a:gd name="connsiteY42" fmla="*/ 31750 h 473871"/>
                    <a:gd name="connsiteX43" fmla="*/ 3784600 w 3784600"/>
                    <a:gd name="connsiteY43" fmla="*/ 31750 h 473871"/>
                    <a:gd name="connsiteX0" fmla="*/ 0 w 3784600"/>
                    <a:gd name="connsiteY0" fmla="*/ 447675 h 488057"/>
                    <a:gd name="connsiteX1" fmla="*/ 53975 w 3784600"/>
                    <a:gd name="connsiteY1" fmla="*/ 441325 h 488057"/>
                    <a:gd name="connsiteX2" fmla="*/ 142875 w 3784600"/>
                    <a:gd name="connsiteY2" fmla="*/ 469900 h 488057"/>
                    <a:gd name="connsiteX3" fmla="*/ 381000 w 3784600"/>
                    <a:gd name="connsiteY3" fmla="*/ 127000 h 488057"/>
                    <a:gd name="connsiteX4" fmla="*/ 1800225 w 3784600"/>
                    <a:gd name="connsiteY4" fmla="*/ 123825 h 488057"/>
                    <a:gd name="connsiteX5" fmla="*/ 1943100 w 3784600"/>
                    <a:gd name="connsiteY5" fmla="*/ 120650 h 488057"/>
                    <a:gd name="connsiteX6" fmla="*/ 2041525 w 3784600"/>
                    <a:gd name="connsiteY6" fmla="*/ 12700 h 488057"/>
                    <a:gd name="connsiteX7" fmla="*/ 2079625 w 3784600"/>
                    <a:gd name="connsiteY7" fmla="*/ 0 h 488057"/>
                    <a:gd name="connsiteX8" fmla="*/ 2152650 w 3784600"/>
                    <a:gd name="connsiteY8" fmla="*/ 0 h 488057"/>
                    <a:gd name="connsiteX9" fmla="*/ 2197100 w 3784600"/>
                    <a:gd name="connsiteY9" fmla="*/ 28575 h 488057"/>
                    <a:gd name="connsiteX10" fmla="*/ 2247900 w 3784600"/>
                    <a:gd name="connsiteY10" fmla="*/ 38100 h 488057"/>
                    <a:gd name="connsiteX11" fmla="*/ 2301875 w 3784600"/>
                    <a:gd name="connsiteY11" fmla="*/ 47625 h 488057"/>
                    <a:gd name="connsiteX12" fmla="*/ 2317750 w 3784600"/>
                    <a:gd name="connsiteY12" fmla="*/ 69850 h 488057"/>
                    <a:gd name="connsiteX13" fmla="*/ 2390775 w 3784600"/>
                    <a:gd name="connsiteY13" fmla="*/ 63500 h 488057"/>
                    <a:gd name="connsiteX14" fmla="*/ 2454275 w 3784600"/>
                    <a:gd name="connsiteY14" fmla="*/ 85725 h 488057"/>
                    <a:gd name="connsiteX15" fmla="*/ 2489200 w 3784600"/>
                    <a:gd name="connsiteY15" fmla="*/ 79375 h 488057"/>
                    <a:gd name="connsiteX16" fmla="*/ 2559050 w 3784600"/>
                    <a:gd name="connsiteY16" fmla="*/ 107950 h 488057"/>
                    <a:gd name="connsiteX17" fmla="*/ 2590800 w 3784600"/>
                    <a:gd name="connsiteY17" fmla="*/ 123825 h 488057"/>
                    <a:gd name="connsiteX18" fmla="*/ 2657475 w 3784600"/>
                    <a:gd name="connsiteY18" fmla="*/ 133350 h 488057"/>
                    <a:gd name="connsiteX19" fmla="*/ 2765425 w 3784600"/>
                    <a:gd name="connsiteY19" fmla="*/ 161925 h 488057"/>
                    <a:gd name="connsiteX20" fmla="*/ 2806700 w 3784600"/>
                    <a:gd name="connsiteY20" fmla="*/ 133350 h 488057"/>
                    <a:gd name="connsiteX21" fmla="*/ 2889250 w 3784600"/>
                    <a:gd name="connsiteY21" fmla="*/ 130175 h 488057"/>
                    <a:gd name="connsiteX22" fmla="*/ 3032125 w 3784600"/>
                    <a:gd name="connsiteY22" fmla="*/ 98425 h 488057"/>
                    <a:gd name="connsiteX23" fmla="*/ 3086100 w 3784600"/>
                    <a:gd name="connsiteY23" fmla="*/ 101600 h 488057"/>
                    <a:gd name="connsiteX24" fmla="*/ 3121025 w 3784600"/>
                    <a:gd name="connsiteY24" fmla="*/ 47625 h 488057"/>
                    <a:gd name="connsiteX25" fmla="*/ 3162300 w 3784600"/>
                    <a:gd name="connsiteY25" fmla="*/ 31750 h 488057"/>
                    <a:gd name="connsiteX26" fmla="*/ 3209925 w 3784600"/>
                    <a:gd name="connsiteY26" fmla="*/ 31750 h 488057"/>
                    <a:gd name="connsiteX27" fmla="*/ 3257550 w 3784600"/>
                    <a:gd name="connsiteY27" fmla="*/ 73025 h 488057"/>
                    <a:gd name="connsiteX28" fmla="*/ 3286125 w 3784600"/>
                    <a:gd name="connsiteY28" fmla="*/ 98425 h 488057"/>
                    <a:gd name="connsiteX29" fmla="*/ 3343275 w 3784600"/>
                    <a:gd name="connsiteY29" fmla="*/ 19050 h 488057"/>
                    <a:gd name="connsiteX30" fmla="*/ 3365500 w 3784600"/>
                    <a:gd name="connsiteY30" fmla="*/ 34925 h 488057"/>
                    <a:gd name="connsiteX31" fmla="*/ 3403600 w 3784600"/>
                    <a:gd name="connsiteY31" fmla="*/ 60325 h 488057"/>
                    <a:gd name="connsiteX32" fmla="*/ 3470275 w 3784600"/>
                    <a:gd name="connsiteY32" fmla="*/ 63500 h 488057"/>
                    <a:gd name="connsiteX33" fmla="*/ 3533775 w 3784600"/>
                    <a:gd name="connsiteY33" fmla="*/ 50800 h 488057"/>
                    <a:gd name="connsiteX34" fmla="*/ 3533775 w 3784600"/>
                    <a:gd name="connsiteY34" fmla="*/ 50800 h 488057"/>
                    <a:gd name="connsiteX35" fmla="*/ 3600450 w 3784600"/>
                    <a:gd name="connsiteY35" fmla="*/ 60325 h 488057"/>
                    <a:gd name="connsiteX36" fmla="*/ 3648075 w 3784600"/>
                    <a:gd name="connsiteY36" fmla="*/ 50800 h 488057"/>
                    <a:gd name="connsiteX37" fmla="*/ 3683000 w 3784600"/>
                    <a:gd name="connsiteY37" fmla="*/ 34925 h 488057"/>
                    <a:gd name="connsiteX38" fmla="*/ 3683000 w 3784600"/>
                    <a:gd name="connsiteY38" fmla="*/ 31750 h 488057"/>
                    <a:gd name="connsiteX39" fmla="*/ 3698875 w 3784600"/>
                    <a:gd name="connsiteY39" fmla="*/ 31750 h 488057"/>
                    <a:gd name="connsiteX40" fmla="*/ 3756025 w 3784600"/>
                    <a:gd name="connsiteY40" fmla="*/ 31750 h 488057"/>
                    <a:gd name="connsiteX41" fmla="*/ 3768725 w 3784600"/>
                    <a:gd name="connsiteY41" fmla="*/ 31750 h 488057"/>
                    <a:gd name="connsiteX42" fmla="*/ 3784600 w 3784600"/>
                    <a:gd name="connsiteY42" fmla="*/ 31750 h 488057"/>
                    <a:gd name="connsiteX0" fmla="*/ 0 w 3784600"/>
                    <a:gd name="connsiteY0" fmla="*/ 447675 h 489723"/>
                    <a:gd name="connsiteX1" fmla="*/ 142875 w 3784600"/>
                    <a:gd name="connsiteY1" fmla="*/ 469900 h 489723"/>
                    <a:gd name="connsiteX2" fmla="*/ 381000 w 3784600"/>
                    <a:gd name="connsiteY2" fmla="*/ 127000 h 489723"/>
                    <a:gd name="connsiteX3" fmla="*/ 1800225 w 3784600"/>
                    <a:gd name="connsiteY3" fmla="*/ 123825 h 489723"/>
                    <a:gd name="connsiteX4" fmla="*/ 1943100 w 3784600"/>
                    <a:gd name="connsiteY4" fmla="*/ 120650 h 489723"/>
                    <a:gd name="connsiteX5" fmla="*/ 2041525 w 3784600"/>
                    <a:gd name="connsiteY5" fmla="*/ 12700 h 489723"/>
                    <a:gd name="connsiteX6" fmla="*/ 2079625 w 3784600"/>
                    <a:gd name="connsiteY6" fmla="*/ 0 h 489723"/>
                    <a:gd name="connsiteX7" fmla="*/ 2152650 w 3784600"/>
                    <a:gd name="connsiteY7" fmla="*/ 0 h 489723"/>
                    <a:gd name="connsiteX8" fmla="*/ 2197100 w 3784600"/>
                    <a:gd name="connsiteY8" fmla="*/ 28575 h 489723"/>
                    <a:gd name="connsiteX9" fmla="*/ 2247900 w 3784600"/>
                    <a:gd name="connsiteY9" fmla="*/ 38100 h 489723"/>
                    <a:gd name="connsiteX10" fmla="*/ 2301875 w 3784600"/>
                    <a:gd name="connsiteY10" fmla="*/ 47625 h 489723"/>
                    <a:gd name="connsiteX11" fmla="*/ 2317750 w 3784600"/>
                    <a:gd name="connsiteY11" fmla="*/ 69850 h 489723"/>
                    <a:gd name="connsiteX12" fmla="*/ 2390775 w 3784600"/>
                    <a:gd name="connsiteY12" fmla="*/ 63500 h 489723"/>
                    <a:gd name="connsiteX13" fmla="*/ 2454275 w 3784600"/>
                    <a:gd name="connsiteY13" fmla="*/ 85725 h 489723"/>
                    <a:gd name="connsiteX14" fmla="*/ 2489200 w 3784600"/>
                    <a:gd name="connsiteY14" fmla="*/ 79375 h 489723"/>
                    <a:gd name="connsiteX15" fmla="*/ 2559050 w 3784600"/>
                    <a:gd name="connsiteY15" fmla="*/ 107950 h 489723"/>
                    <a:gd name="connsiteX16" fmla="*/ 2590800 w 3784600"/>
                    <a:gd name="connsiteY16" fmla="*/ 123825 h 489723"/>
                    <a:gd name="connsiteX17" fmla="*/ 2657475 w 3784600"/>
                    <a:gd name="connsiteY17" fmla="*/ 133350 h 489723"/>
                    <a:gd name="connsiteX18" fmla="*/ 2765425 w 3784600"/>
                    <a:gd name="connsiteY18" fmla="*/ 161925 h 489723"/>
                    <a:gd name="connsiteX19" fmla="*/ 2806700 w 3784600"/>
                    <a:gd name="connsiteY19" fmla="*/ 133350 h 489723"/>
                    <a:gd name="connsiteX20" fmla="*/ 2889250 w 3784600"/>
                    <a:gd name="connsiteY20" fmla="*/ 130175 h 489723"/>
                    <a:gd name="connsiteX21" fmla="*/ 3032125 w 3784600"/>
                    <a:gd name="connsiteY21" fmla="*/ 98425 h 489723"/>
                    <a:gd name="connsiteX22" fmla="*/ 3086100 w 3784600"/>
                    <a:gd name="connsiteY22" fmla="*/ 101600 h 489723"/>
                    <a:gd name="connsiteX23" fmla="*/ 3121025 w 3784600"/>
                    <a:gd name="connsiteY23" fmla="*/ 47625 h 489723"/>
                    <a:gd name="connsiteX24" fmla="*/ 3162300 w 3784600"/>
                    <a:gd name="connsiteY24" fmla="*/ 31750 h 489723"/>
                    <a:gd name="connsiteX25" fmla="*/ 3209925 w 3784600"/>
                    <a:gd name="connsiteY25" fmla="*/ 31750 h 489723"/>
                    <a:gd name="connsiteX26" fmla="*/ 3257550 w 3784600"/>
                    <a:gd name="connsiteY26" fmla="*/ 73025 h 489723"/>
                    <a:gd name="connsiteX27" fmla="*/ 3286125 w 3784600"/>
                    <a:gd name="connsiteY27" fmla="*/ 98425 h 489723"/>
                    <a:gd name="connsiteX28" fmla="*/ 3343275 w 3784600"/>
                    <a:gd name="connsiteY28" fmla="*/ 19050 h 489723"/>
                    <a:gd name="connsiteX29" fmla="*/ 3365500 w 3784600"/>
                    <a:gd name="connsiteY29" fmla="*/ 34925 h 489723"/>
                    <a:gd name="connsiteX30" fmla="*/ 3403600 w 3784600"/>
                    <a:gd name="connsiteY30" fmla="*/ 60325 h 489723"/>
                    <a:gd name="connsiteX31" fmla="*/ 3470275 w 3784600"/>
                    <a:gd name="connsiteY31" fmla="*/ 63500 h 489723"/>
                    <a:gd name="connsiteX32" fmla="*/ 3533775 w 3784600"/>
                    <a:gd name="connsiteY32" fmla="*/ 50800 h 489723"/>
                    <a:gd name="connsiteX33" fmla="*/ 3533775 w 3784600"/>
                    <a:gd name="connsiteY33" fmla="*/ 50800 h 489723"/>
                    <a:gd name="connsiteX34" fmla="*/ 3600450 w 3784600"/>
                    <a:gd name="connsiteY34" fmla="*/ 60325 h 489723"/>
                    <a:gd name="connsiteX35" fmla="*/ 3648075 w 3784600"/>
                    <a:gd name="connsiteY35" fmla="*/ 50800 h 489723"/>
                    <a:gd name="connsiteX36" fmla="*/ 3683000 w 3784600"/>
                    <a:gd name="connsiteY36" fmla="*/ 34925 h 489723"/>
                    <a:gd name="connsiteX37" fmla="*/ 3683000 w 3784600"/>
                    <a:gd name="connsiteY37" fmla="*/ 31750 h 489723"/>
                    <a:gd name="connsiteX38" fmla="*/ 3698875 w 3784600"/>
                    <a:gd name="connsiteY38" fmla="*/ 31750 h 489723"/>
                    <a:gd name="connsiteX39" fmla="*/ 3756025 w 3784600"/>
                    <a:gd name="connsiteY39" fmla="*/ 31750 h 489723"/>
                    <a:gd name="connsiteX40" fmla="*/ 3768725 w 3784600"/>
                    <a:gd name="connsiteY40" fmla="*/ 31750 h 489723"/>
                    <a:gd name="connsiteX41" fmla="*/ 3784600 w 3784600"/>
                    <a:gd name="connsiteY41" fmla="*/ 31750 h 489723"/>
                    <a:gd name="connsiteX0" fmla="*/ 0 w 3784600"/>
                    <a:gd name="connsiteY0" fmla="*/ 447675 h 447675"/>
                    <a:gd name="connsiteX1" fmla="*/ 381000 w 3784600"/>
                    <a:gd name="connsiteY1" fmla="*/ 127000 h 447675"/>
                    <a:gd name="connsiteX2" fmla="*/ 1800225 w 3784600"/>
                    <a:gd name="connsiteY2" fmla="*/ 123825 h 447675"/>
                    <a:gd name="connsiteX3" fmla="*/ 1943100 w 3784600"/>
                    <a:gd name="connsiteY3" fmla="*/ 120650 h 447675"/>
                    <a:gd name="connsiteX4" fmla="*/ 2041525 w 3784600"/>
                    <a:gd name="connsiteY4" fmla="*/ 12700 h 447675"/>
                    <a:gd name="connsiteX5" fmla="*/ 2079625 w 3784600"/>
                    <a:gd name="connsiteY5" fmla="*/ 0 h 447675"/>
                    <a:gd name="connsiteX6" fmla="*/ 2152650 w 3784600"/>
                    <a:gd name="connsiteY6" fmla="*/ 0 h 447675"/>
                    <a:gd name="connsiteX7" fmla="*/ 2197100 w 3784600"/>
                    <a:gd name="connsiteY7" fmla="*/ 28575 h 447675"/>
                    <a:gd name="connsiteX8" fmla="*/ 2247900 w 3784600"/>
                    <a:gd name="connsiteY8" fmla="*/ 38100 h 447675"/>
                    <a:gd name="connsiteX9" fmla="*/ 2301875 w 3784600"/>
                    <a:gd name="connsiteY9" fmla="*/ 47625 h 447675"/>
                    <a:gd name="connsiteX10" fmla="*/ 2317750 w 3784600"/>
                    <a:gd name="connsiteY10" fmla="*/ 69850 h 447675"/>
                    <a:gd name="connsiteX11" fmla="*/ 2390775 w 3784600"/>
                    <a:gd name="connsiteY11" fmla="*/ 63500 h 447675"/>
                    <a:gd name="connsiteX12" fmla="*/ 2454275 w 3784600"/>
                    <a:gd name="connsiteY12" fmla="*/ 85725 h 447675"/>
                    <a:gd name="connsiteX13" fmla="*/ 2489200 w 3784600"/>
                    <a:gd name="connsiteY13" fmla="*/ 79375 h 447675"/>
                    <a:gd name="connsiteX14" fmla="*/ 2559050 w 3784600"/>
                    <a:gd name="connsiteY14" fmla="*/ 107950 h 447675"/>
                    <a:gd name="connsiteX15" fmla="*/ 2590800 w 3784600"/>
                    <a:gd name="connsiteY15" fmla="*/ 123825 h 447675"/>
                    <a:gd name="connsiteX16" fmla="*/ 2657475 w 3784600"/>
                    <a:gd name="connsiteY16" fmla="*/ 133350 h 447675"/>
                    <a:gd name="connsiteX17" fmla="*/ 2765425 w 3784600"/>
                    <a:gd name="connsiteY17" fmla="*/ 161925 h 447675"/>
                    <a:gd name="connsiteX18" fmla="*/ 2806700 w 3784600"/>
                    <a:gd name="connsiteY18" fmla="*/ 133350 h 447675"/>
                    <a:gd name="connsiteX19" fmla="*/ 2889250 w 3784600"/>
                    <a:gd name="connsiteY19" fmla="*/ 130175 h 447675"/>
                    <a:gd name="connsiteX20" fmla="*/ 3032125 w 3784600"/>
                    <a:gd name="connsiteY20" fmla="*/ 98425 h 447675"/>
                    <a:gd name="connsiteX21" fmla="*/ 3086100 w 3784600"/>
                    <a:gd name="connsiteY21" fmla="*/ 101600 h 447675"/>
                    <a:gd name="connsiteX22" fmla="*/ 3121025 w 3784600"/>
                    <a:gd name="connsiteY22" fmla="*/ 47625 h 447675"/>
                    <a:gd name="connsiteX23" fmla="*/ 3162300 w 3784600"/>
                    <a:gd name="connsiteY23" fmla="*/ 31750 h 447675"/>
                    <a:gd name="connsiteX24" fmla="*/ 3209925 w 3784600"/>
                    <a:gd name="connsiteY24" fmla="*/ 31750 h 447675"/>
                    <a:gd name="connsiteX25" fmla="*/ 3257550 w 3784600"/>
                    <a:gd name="connsiteY25" fmla="*/ 73025 h 447675"/>
                    <a:gd name="connsiteX26" fmla="*/ 3286125 w 3784600"/>
                    <a:gd name="connsiteY26" fmla="*/ 98425 h 447675"/>
                    <a:gd name="connsiteX27" fmla="*/ 3343275 w 3784600"/>
                    <a:gd name="connsiteY27" fmla="*/ 19050 h 447675"/>
                    <a:gd name="connsiteX28" fmla="*/ 3365500 w 3784600"/>
                    <a:gd name="connsiteY28" fmla="*/ 34925 h 447675"/>
                    <a:gd name="connsiteX29" fmla="*/ 3403600 w 3784600"/>
                    <a:gd name="connsiteY29" fmla="*/ 60325 h 447675"/>
                    <a:gd name="connsiteX30" fmla="*/ 3470275 w 3784600"/>
                    <a:gd name="connsiteY30" fmla="*/ 63500 h 447675"/>
                    <a:gd name="connsiteX31" fmla="*/ 3533775 w 3784600"/>
                    <a:gd name="connsiteY31" fmla="*/ 50800 h 447675"/>
                    <a:gd name="connsiteX32" fmla="*/ 3533775 w 3784600"/>
                    <a:gd name="connsiteY32" fmla="*/ 50800 h 447675"/>
                    <a:gd name="connsiteX33" fmla="*/ 3600450 w 3784600"/>
                    <a:gd name="connsiteY33" fmla="*/ 60325 h 447675"/>
                    <a:gd name="connsiteX34" fmla="*/ 3648075 w 3784600"/>
                    <a:gd name="connsiteY34" fmla="*/ 50800 h 447675"/>
                    <a:gd name="connsiteX35" fmla="*/ 3683000 w 3784600"/>
                    <a:gd name="connsiteY35" fmla="*/ 34925 h 447675"/>
                    <a:gd name="connsiteX36" fmla="*/ 3683000 w 3784600"/>
                    <a:gd name="connsiteY36" fmla="*/ 31750 h 447675"/>
                    <a:gd name="connsiteX37" fmla="*/ 3698875 w 3784600"/>
                    <a:gd name="connsiteY37" fmla="*/ 31750 h 447675"/>
                    <a:gd name="connsiteX38" fmla="*/ 3756025 w 3784600"/>
                    <a:gd name="connsiteY38" fmla="*/ 31750 h 447675"/>
                    <a:gd name="connsiteX39" fmla="*/ 3768725 w 3784600"/>
                    <a:gd name="connsiteY39" fmla="*/ 31750 h 447675"/>
                    <a:gd name="connsiteX40" fmla="*/ 3784600 w 3784600"/>
                    <a:gd name="connsiteY40" fmla="*/ 31750 h 447675"/>
                    <a:gd name="connsiteX0" fmla="*/ 0 w 3403600"/>
                    <a:gd name="connsiteY0" fmla="*/ 127000 h 161925"/>
                    <a:gd name="connsiteX1" fmla="*/ 1419225 w 3403600"/>
                    <a:gd name="connsiteY1" fmla="*/ 123825 h 161925"/>
                    <a:gd name="connsiteX2" fmla="*/ 1562100 w 3403600"/>
                    <a:gd name="connsiteY2" fmla="*/ 120650 h 161925"/>
                    <a:gd name="connsiteX3" fmla="*/ 1660525 w 3403600"/>
                    <a:gd name="connsiteY3" fmla="*/ 12700 h 161925"/>
                    <a:gd name="connsiteX4" fmla="*/ 1698625 w 3403600"/>
                    <a:gd name="connsiteY4" fmla="*/ 0 h 161925"/>
                    <a:gd name="connsiteX5" fmla="*/ 1771650 w 3403600"/>
                    <a:gd name="connsiteY5" fmla="*/ 0 h 161925"/>
                    <a:gd name="connsiteX6" fmla="*/ 1816100 w 3403600"/>
                    <a:gd name="connsiteY6" fmla="*/ 28575 h 161925"/>
                    <a:gd name="connsiteX7" fmla="*/ 1866900 w 3403600"/>
                    <a:gd name="connsiteY7" fmla="*/ 38100 h 161925"/>
                    <a:gd name="connsiteX8" fmla="*/ 1920875 w 3403600"/>
                    <a:gd name="connsiteY8" fmla="*/ 47625 h 161925"/>
                    <a:gd name="connsiteX9" fmla="*/ 1936750 w 3403600"/>
                    <a:gd name="connsiteY9" fmla="*/ 69850 h 161925"/>
                    <a:gd name="connsiteX10" fmla="*/ 2009775 w 3403600"/>
                    <a:gd name="connsiteY10" fmla="*/ 63500 h 161925"/>
                    <a:gd name="connsiteX11" fmla="*/ 2073275 w 3403600"/>
                    <a:gd name="connsiteY11" fmla="*/ 85725 h 161925"/>
                    <a:gd name="connsiteX12" fmla="*/ 2108200 w 3403600"/>
                    <a:gd name="connsiteY12" fmla="*/ 79375 h 161925"/>
                    <a:gd name="connsiteX13" fmla="*/ 2178050 w 3403600"/>
                    <a:gd name="connsiteY13" fmla="*/ 107950 h 161925"/>
                    <a:gd name="connsiteX14" fmla="*/ 2209800 w 3403600"/>
                    <a:gd name="connsiteY14" fmla="*/ 123825 h 161925"/>
                    <a:gd name="connsiteX15" fmla="*/ 2276475 w 3403600"/>
                    <a:gd name="connsiteY15" fmla="*/ 133350 h 161925"/>
                    <a:gd name="connsiteX16" fmla="*/ 2384425 w 3403600"/>
                    <a:gd name="connsiteY16" fmla="*/ 161925 h 161925"/>
                    <a:gd name="connsiteX17" fmla="*/ 2425700 w 3403600"/>
                    <a:gd name="connsiteY17" fmla="*/ 133350 h 161925"/>
                    <a:gd name="connsiteX18" fmla="*/ 2508250 w 3403600"/>
                    <a:gd name="connsiteY18" fmla="*/ 130175 h 161925"/>
                    <a:gd name="connsiteX19" fmla="*/ 2651125 w 3403600"/>
                    <a:gd name="connsiteY19" fmla="*/ 98425 h 161925"/>
                    <a:gd name="connsiteX20" fmla="*/ 2705100 w 3403600"/>
                    <a:gd name="connsiteY20" fmla="*/ 101600 h 161925"/>
                    <a:gd name="connsiteX21" fmla="*/ 2740025 w 3403600"/>
                    <a:gd name="connsiteY21" fmla="*/ 47625 h 161925"/>
                    <a:gd name="connsiteX22" fmla="*/ 2781300 w 3403600"/>
                    <a:gd name="connsiteY22" fmla="*/ 31750 h 161925"/>
                    <a:gd name="connsiteX23" fmla="*/ 2828925 w 3403600"/>
                    <a:gd name="connsiteY23" fmla="*/ 31750 h 161925"/>
                    <a:gd name="connsiteX24" fmla="*/ 2876550 w 3403600"/>
                    <a:gd name="connsiteY24" fmla="*/ 73025 h 161925"/>
                    <a:gd name="connsiteX25" fmla="*/ 2905125 w 3403600"/>
                    <a:gd name="connsiteY25" fmla="*/ 98425 h 161925"/>
                    <a:gd name="connsiteX26" fmla="*/ 2962275 w 3403600"/>
                    <a:gd name="connsiteY26" fmla="*/ 19050 h 161925"/>
                    <a:gd name="connsiteX27" fmla="*/ 2984500 w 3403600"/>
                    <a:gd name="connsiteY27" fmla="*/ 34925 h 161925"/>
                    <a:gd name="connsiteX28" fmla="*/ 3022600 w 3403600"/>
                    <a:gd name="connsiteY28" fmla="*/ 60325 h 161925"/>
                    <a:gd name="connsiteX29" fmla="*/ 3089275 w 3403600"/>
                    <a:gd name="connsiteY29" fmla="*/ 63500 h 161925"/>
                    <a:gd name="connsiteX30" fmla="*/ 3152775 w 3403600"/>
                    <a:gd name="connsiteY30" fmla="*/ 50800 h 161925"/>
                    <a:gd name="connsiteX31" fmla="*/ 3152775 w 3403600"/>
                    <a:gd name="connsiteY31" fmla="*/ 50800 h 161925"/>
                    <a:gd name="connsiteX32" fmla="*/ 3219450 w 3403600"/>
                    <a:gd name="connsiteY32" fmla="*/ 60325 h 161925"/>
                    <a:gd name="connsiteX33" fmla="*/ 3267075 w 3403600"/>
                    <a:gd name="connsiteY33" fmla="*/ 50800 h 161925"/>
                    <a:gd name="connsiteX34" fmla="*/ 3302000 w 3403600"/>
                    <a:gd name="connsiteY34" fmla="*/ 34925 h 161925"/>
                    <a:gd name="connsiteX35" fmla="*/ 3302000 w 3403600"/>
                    <a:gd name="connsiteY35" fmla="*/ 31750 h 161925"/>
                    <a:gd name="connsiteX36" fmla="*/ 3317875 w 3403600"/>
                    <a:gd name="connsiteY36" fmla="*/ 31750 h 161925"/>
                    <a:gd name="connsiteX37" fmla="*/ 3375025 w 3403600"/>
                    <a:gd name="connsiteY37" fmla="*/ 31750 h 161925"/>
                    <a:gd name="connsiteX38" fmla="*/ 3387725 w 3403600"/>
                    <a:gd name="connsiteY38" fmla="*/ 31750 h 161925"/>
                    <a:gd name="connsiteX39" fmla="*/ 3403600 w 3403600"/>
                    <a:gd name="connsiteY39" fmla="*/ 31750 h 161925"/>
                    <a:gd name="connsiteX0" fmla="*/ 0 w 1984375"/>
                    <a:gd name="connsiteY0" fmla="*/ 123825 h 161925"/>
                    <a:gd name="connsiteX1" fmla="*/ 142875 w 1984375"/>
                    <a:gd name="connsiteY1" fmla="*/ 120650 h 161925"/>
                    <a:gd name="connsiteX2" fmla="*/ 241300 w 1984375"/>
                    <a:gd name="connsiteY2" fmla="*/ 12700 h 161925"/>
                    <a:gd name="connsiteX3" fmla="*/ 279400 w 1984375"/>
                    <a:gd name="connsiteY3" fmla="*/ 0 h 161925"/>
                    <a:gd name="connsiteX4" fmla="*/ 352425 w 1984375"/>
                    <a:gd name="connsiteY4" fmla="*/ 0 h 161925"/>
                    <a:gd name="connsiteX5" fmla="*/ 396875 w 1984375"/>
                    <a:gd name="connsiteY5" fmla="*/ 28575 h 161925"/>
                    <a:gd name="connsiteX6" fmla="*/ 447675 w 1984375"/>
                    <a:gd name="connsiteY6" fmla="*/ 38100 h 161925"/>
                    <a:gd name="connsiteX7" fmla="*/ 501650 w 1984375"/>
                    <a:gd name="connsiteY7" fmla="*/ 47625 h 161925"/>
                    <a:gd name="connsiteX8" fmla="*/ 517525 w 1984375"/>
                    <a:gd name="connsiteY8" fmla="*/ 69850 h 161925"/>
                    <a:gd name="connsiteX9" fmla="*/ 590550 w 1984375"/>
                    <a:gd name="connsiteY9" fmla="*/ 63500 h 161925"/>
                    <a:gd name="connsiteX10" fmla="*/ 654050 w 1984375"/>
                    <a:gd name="connsiteY10" fmla="*/ 85725 h 161925"/>
                    <a:gd name="connsiteX11" fmla="*/ 688975 w 1984375"/>
                    <a:gd name="connsiteY11" fmla="*/ 79375 h 161925"/>
                    <a:gd name="connsiteX12" fmla="*/ 758825 w 1984375"/>
                    <a:gd name="connsiteY12" fmla="*/ 107950 h 161925"/>
                    <a:gd name="connsiteX13" fmla="*/ 790575 w 1984375"/>
                    <a:gd name="connsiteY13" fmla="*/ 123825 h 161925"/>
                    <a:gd name="connsiteX14" fmla="*/ 857250 w 1984375"/>
                    <a:gd name="connsiteY14" fmla="*/ 133350 h 161925"/>
                    <a:gd name="connsiteX15" fmla="*/ 965200 w 1984375"/>
                    <a:gd name="connsiteY15" fmla="*/ 161925 h 161925"/>
                    <a:gd name="connsiteX16" fmla="*/ 1006475 w 1984375"/>
                    <a:gd name="connsiteY16" fmla="*/ 133350 h 161925"/>
                    <a:gd name="connsiteX17" fmla="*/ 1089025 w 1984375"/>
                    <a:gd name="connsiteY17" fmla="*/ 130175 h 161925"/>
                    <a:gd name="connsiteX18" fmla="*/ 1231900 w 1984375"/>
                    <a:gd name="connsiteY18" fmla="*/ 98425 h 161925"/>
                    <a:gd name="connsiteX19" fmla="*/ 1285875 w 1984375"/>
                    <a:gd name="connsiteY19" fmla="*/ 101600 h 161925"/>
                    <a:gd name="connsiteX20" fmla="*/ 1320800 w 1984375"/>
                    <a:gd name="connsiteY20" fmla="*/ 47625 h 161925"/>
                    <a:gd name="connsiteX21" fmla="*/ 1362075 w 1984375"/>
                    <a:gd name="connsiteY21" fmla="*/ 31750 h 161925"/>
                    <a:gd name="connsiteX22" fmla="*/ 1409700 w 1984375"/>
                    <a:gd name="connsiteY22" fmla="*/ 31750 h 161925"/>
                    <a:gd name="connsiteX23" fmla="*/ 1457325 w 1984375"/>
                    <a:gd name="connsiteY23" fmla="*/ 73025 h 161925"/>
                    <a:gd name="connsiteX24" fmla="*/ 1485900 w 1984375"/>
                    <a:gd name="connsiteY24" fmla="*/ 98425 h 161925"/>
                    <a:gd name="connsiteX25" fmla="*/ 1543050 w 1984375"/>
                    <a:gd name="connsiteY25" fmla="*/ 19050 h 161925"/>
                    <a:gd name="connsiteX26" fmla="*/ 1565275 w 1984375"/>
                    <a:gd name="connsiteY26" fmla="*/ 34925 h 161925"/>
                    <a:gd name="connsiteX27" fmla="*/ 1603375 w 1984375"/>
                    <a:gd name="connsiteY27" fmla="*/ 60325 h 161925"/>
                    <a:gd name="connsiteX28" fmla="*/ 1670050 w 1984375"/>
                    <a:gd name="connsiteY28" fmla="*/ 63500 h 161925"/>
                    <a:gd name="connsiteX29" fmla="*/ 1733550 w 1984375"/>
                    <a:gd name="connsiteY29" fmla="*/ 50800 h 161925"/>
                    <a:gd name="connsiteX30" fmla="*/ 1733550 w 1984375"/>
                    <a:gd name="connsiteY30" fmla="*/ 50800 h 161925"/>
                    <a:gd name="connsiteX31" fmla="*/ 1800225 w 1984375"/>
                    <a:gd name="connsiteY31" fmla="*/ 60325 h 161925"/>
                    <a:gd name="connsiteX32" fmla="*/ 1847850 w 1984375"/>
                    <a:gd name="connsiteY32" fmla="*/ 50800 h 161925"/>
                    <a:gd name="connsiteX33" fmla="*/ 1882775 w 1984375"/>
                    <a:gd name="connsiteY33" fmla="*/ 34925 h 161925"/>
                    <a:gd name="connsiteX34" fmla="*/ 1882775 w 1984375"/>
                    <a:gd name="connsiteY34" fmla="*/ 31750 h 161925"/>
                    <a:gd name="connsiteX35" fmla="*/ 1898650 w 1984375"/>
                    <a:gd name="connsiteY35" fmla="*/ 31750 h 161925"/>
                    <a:gd name="connsiteX36" fmla="*/ 1955800 w 1984375"/>
                    <a:gd name="connsiteY36" fmla="*/ 31750 h 161925"/>
                    <a:gd name="connsiteX37" fmla="*/ 1968500 w 1984375"/>
                    <a:gd name="connsiteY37" fmla="*/ 31750 h 161925"/>
                    <a:gd name="connsiteX38" fmla="*/ 1984375 w 1984375"/>
                    <a:gd name="connsiteY38" fmla="*/ 31750 h 1619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1984375" h="161925">
                      <a:moveTo>
                        <a:pt x="0" y="123825"/>
                      </a:moveTo>
                      <a:lnTo>
                        <a:pt x="142875" y="120650"/>
                      </a:lnTo>
                      <a:lnTo>
                        <a:pt x="241300" y="12700"/>
                      </a:lnTo>
                      <a:lnTo>
                        <a:pt x="279400" y="0"/>
                      </a:lnTo>
                      <a:lnTo>
                        <a:pt x="352425" y="0"/>
                      </a:lnTo>
                      <a:lnTo>
                        <a:pt x="396875" y="28575"/>
                      </a:lnTo>
                      <a:lnTo>
                        <a:pt x="447675" y="38100"/>
                      </a:lnTo>
                      <a:lnTo>
                        <a:pt x="501650" y="47625"/>
                      </a:lnTo>
                      <a:lnTo>
                        <a:pt x="517525" y="69850"/>
                      </a:lnTo>
                      <a:lnTo>
                        <a:pt x="590550" y="63500"/>
                      </a:lnTo>
                      <a:lnTo>
                        <a:pt x="654050" y="85725"/>
                      </a:lnTo>
                      <a:lnTo>
                        <a:pt x="688975" y="79375"/>
                      </a:lnTo>
                      <a:lnTo>
                        <a:pt x="758825" y="107950"/>
                      </a:lnTo>
                      <a:lnTo>
                        <a:pt x="790575" y="123825"/>
                      </a:lnTo>
                      <a:lnTo>
                        <a:pt x="857250" y="133350"/>
                      </a:lnTo>
                      <a:lnTo>
                        <a:pt x="965200" y="161925"/>
                      </a:lnTo>
                      <a:lnTo>
                        <a:pt x="1006475" y="133350"/>
                      </a:lnTo>
                      <a:lnTo>
                        <a:pt x="1089025" y="130175"/>
                      </a:lnTo>
                      <a:lnTo>
                        <a:pt x="1231900" y="98425"/>
                      </a:lnTo>
                      <a:lnTo>
                        <a:pt x="1285875" y="101600"/>
                      </a:lnTo>
                      <a:lnTo>
                        <a:pt x="1320800" y="47625"/>
                      </a:lnTo>
                      <a:lnTo>
                        <a:pt x="1362075" y="31750"/>
                      </a:lnTo>
                      <a:lnTo>
                        <a:pt x="1409700" y="31750"/>
                      </a:lnTo>
                      <a:lnTo>
                        <a:pt x="1457325" y="73025"/>
                      </a:lnTo>
                      <a:lnTo>
                        <a:pt x="1485900" y="98425"/>
                      </a:lnTo>
                      <a:lnTo>
                        <a:pt x="1543050" y="19050"/>
                      </a:lnTo>
                      <a:lnTo>
                        <a:pt x="1565275" y="34925"/>
                      </a:lnTo>
                      <a:lnTo>
                        <a:pt x="1603375" y="60325"/>
                      </a:lnTo>
                      <a:lnTo>
                        <a:pt x="1670050" y="63500"/>
                      </a:lnTo>
                      <a:lnTo>
                        <a:pt x="1733550" y="50800"/>
                      </a:lnTo>
                      <a:lnTo>
                        <a:pt x="1733550" y="50800"/>
                      </a:lnTo>
                      <a:lnTo>
                        <a:pt x="1800225" y="60325"/>
                      </a:lnTo>
                      <a:lnTo>
                        <a:pt x="1847850" y="50800"/>
                      </a:lnTo>
                      <a:cubicBezTo>
                        <a:pt x="1855276" y="48015"/>
                        <a:pt x="1874819" y="42881"/>
                        <a:pt x="1882775" y="34925"/>
                      </a:cubicBezTo>
                      <a:lnTo>
                        <a:pt x="1882775" y="31750"/>
                      </a:lnTo>
                      <a:lnTo>
                        <a:pt x="1898650" y="31750"/>
                      </a:lnTo>
                      <a:lnTo>
                        <a:pt x="1955800" y="31750"/>
                      </a:lnTo>
                      <a:lnTo>
                        <a:pt x="1968500" y="31750"/>
                      </a:lnTo>
                      <a:lnTo>
                        <a:pt x="1984375" y="31750"/>
                      </a:lnTo>
                    </a:path>
                  </a:pathLst>
                </a:custGeom>
                <a:noFill/>
                <a:ln w="25400" cap="flat" cmpd="sng" algn="ctr">
                  <a:solidFill>
                    <a:srgbClr val="FF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91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134" name="Freeform 19"/>
                <p:cNvSpPr/>
                <p:nvPr/>
              </p:nvSpPr>
              <p:spPr>
                <a:xfrm>
                  <a:off x="5746750" y="2336801"/>
                  <a:ext cx="1200150" cy="530225"/>
                </a:xfrm>
                <a:custGeom>
                  <a:avLst/>
                  <a:gdLst>
                    <a:gd name="connsiteX0" fmla="*/ 2305050 w 2305050"/>
                    <a:gd name="connsiteY0" fmla="*/ 0 h 263525"/>
                    <a:gd name="connsiteX1" fmla="*/ 2244725 w 2305050"/>
                    <a:gd name="connsiteY1" fmla="*/ 57150 h 263525"/>
                    <a:gd name="connsiteX2" fmla="*/ 2114550 w 2305050"/>
                    <a:gd name="connsiteY2" fmla="*/ 117475 h 263525"/>
                    <a:gd name="connsiteX3" fmla="*/ 2054225 w 2305050"/>
                    <a:gd name="connsiteY3" fmla="*/ 130175 h 263525"/>
                    <a:gd name="connsiteX4" fmla="*/ 1984375 w 2305050"/>
                    <a:gd name="connsiteY4" fmla="*/ 168275 h 263525"/>
                    <a:gd name="connsiteX5" fmla="*/ 1962150 w 2305050"/>
                    <a:gd name="connsiteY5" fmla="*/ 206375 h 263525"/>
                    <a:gd name="connsiteX6" fmla="*/ 1914525 w 2305050"/>
                    <a:gd name="connsiteY6" fmla="*/ 263525 h 263525"/>
                    <a:gd name="connsiteX7" fmla="*/ 1774825 w 2305050"/>
                    <a:gd name="connsiteY7" fmla="*/ 247650 h 263525"/>
                    <a:gd name="connsiteX8" fmla="*/ 1736725 w 2305050"/>
                    <a:gd name="connsiteY8" fmla="*/ 250825 h 263525"/>
                    <a:gd name="connsiteX9" fmla="*/ 1593850 w 2305050"/>
                    <a:gd name="connsiteY9" fmla="*/ 206375 h 263525"/>
                    <a:gd name="connsiteX10" fmla="*/ 1543050 w 2305050"/>
                    <a:gd name="connsiteY10" fmla="*/ 165100 h 263525"/>
                    <a:gd name="connsiteX11" fmla="*/ 1457325 w 2305050"/>
                    <a:gd name="connsiteY11" fmla="*/ 149225 h 263525"/>
                    <a:gd name="connsiteX12" fmla="*/ 1422400 w 2305050"/>
                    <a:gd name="connsiteY12" fmla="*/ 165100 h 263525"/>
                    <a:gd name="connsiteX13" fmla="*/ 1111250 w 2305050"/>
                    <a:gd name="connsiteY13" fmla="*/ 85725 h 263525"/>
                    <a:gd name="connsiteX14" fmla="*/ 1031875 w 2305050"/>
                    <a:gd name="connsiteY14" fmla="*/ 92075 h 263525"/>
                    <a:gd name="connsiteX15" fmla="*/ 987425 w 2305050"/>
                    <a:gd name="connsiteY15" fmla="*/ 98425 h 263525"/>
                    <a:gd name="connsiteX16" fmla="*/ 946150 w 2305050"/>
                    <a:gd name="connsiteY16" fmla="*/ 82550 h 263525"/>
                    <a:gd name="connsiteX17" fmla="*/ 828675 w 2305050"/>
                    <a:gd name="connsiteY17" fmla="*/ 95250 h 263525"/>
                    <a:gd name="connsiteX18" fmla="*/ 765175 w 2305050"/>
                    <a:gd name="connsiteY18" fmla="*/ 82550 h 263525"/>
                    <a:gd name="connsiteX19" fmla="*/ 606425 w 2305050"/>
                    <a:gd name="connsiteY19" fmla="*/ 101600 h 263525"/>
                    <a:gd name="connsiteX20" fmla="*/ 488950 w 2305050"/>
                    <a:gd name="connsiteY20" fmla="*/ 136525 h 263525"/>
                    <a:gd name="connsiteX21" fmla="*/ 469900 w 2305050"/>
                    <a:gd name="connsiteY21" fmla="*/ 161925 h 263525"/>
                    <a:gd name="connsiteX22" fmla="*/ 431800 w 2305050"/>
                    <a:gd name="connsiteY22" fmla="*/ 146050 h 263525"/>
                    <a:gd name="connsiteX23" fmla="*/ 381000 w 2305050"/>
                    <a:gd name="connsiteY23" fmla="*/ 142875 h 263525"/>
                    <a:gd name="connsiteX24" fmla="*/ 333375 w 2305050"/>
                    <a:gd name="connsiteY24" fmla="*/ 161925 h 263525"/>
                    <a:gd name="connsiteX25" fmla="*/ 292100 w 2305050"/>
                    <a:gd name="connsiteY25" fmla="*/ 146050 h 263525"/>
                    <a:gd name="connsiteX26" fmla="*/ 149225 w 2305050"/>
                    <a:gd name="connsiteY26" fmla="*/ 146050 h 263525"/>
                    <a:gd name="connsiteX27" fmla="*/ 0 w 2305050"/>
                    <a:gd name="connsiteY27" fmla="*/ 155575 h 263525"/>
                    <a:gd name="connsiteX0" fmla="*/ 2305050 w 2309019"/>
                    <a:gd name="connsiteY0" fmla="*/ 0 h 263525"/>
                    <a:gd name="connsiteX1" fmla="*/ 2309019 w 2309019"/>
                    <a:gd name="connsiteY1" fmla="*/ 4763 h 263525"/>
                    <a:gd name="connsiteX2" fmla="*/ 2244725 w 2309019"/>
                    <a:gd name="connsiteY2" fmla="*/ 57150 h 263525"/>
                    <a:gd name="connsiteX3" fmla="*/ 2114550 w 2309019"/>
                    <a:gd name="connsiteY3" fmla="*/ 117475 h 263525"/>
                    <a:gd name="connsiteX4" fmla="*/ 2054225 w 2309019"/>
                    <a:gd name="connsiteY4" fmla="*/ 130175 h 263525"/>
                    <a:gd name="connsiteX5" fmla="*/ 1984375 w 2309019"/>
                    <a:gd name="connsiteY5" fmla="*/ 168275 h 263525"/>
                    <a:gd name="connsiteX6" fmla="*/ 1962150 w 2309019"/>
                    <a:gd name="connsiteY6" fmla="*/ 206375 h 263525"/>
                    <a:gd name="connsiteX7" fmla="*/ 1914525 w 2309019"/>
                    <a:gd name="connsiteY7" fmla="*/ 263525 h 263525"/>
                    <a:gd name="connsiteX8" fmla="*/ 1774825 w 2309019"/>
                    <a:gd name="connsiteY8" fmla="*/ 247650 h 263525"/>
                    <a:gd name="connsiteX9" fmla="*/ 1736725 w 2309019"/>
                    <a:gd name="connsiteY9" fmla="*/ 250825 h 263525"/>
                    <a:gd name="connsiteX10" fmla="*/ 1593850 w 2309019"/>
                    <a:gd name="connsiteY10" fmla="*/ 206375 h 263525"/>
                    <a:gd name="connsiteX11" fmla="*/ 1543050 w 2309019"/>
                    <a:gd name="connsiteY11" fmla="*/ 165100 h 263525"/>
                    <a:gd name="connsiteX12" fmla="*/ 1457325 w 2309019"/>
                    <a:gd name="connsiteY12" fmla="*/ 149225 h 263525"/>
                    <a:gd name="connsiteX13" fmla="*/ 1422400 w 2309019"/>
                    <a:gd name="connsiteY13" fmla="*/ 165100 h 263525"/>
                    <a:gd name="connsiteX14" fmla="*/ 1111250 w 2309019"/>
                    <a:gd name="connsiteY14" fmla="*/ 85725 h 263525"/>
                    <a:gd name="connsiteX15" fmla="*/ 1031875 w 2309019"/>
                    <a:gd name="connsiteY15" fmla="*/ 92075 h 263525"/>
                    <a:gd name="connsiteX16" fmla="*/ 987425 w 2309019"/>
                    <a:gd name="connsiteY16" fmla="*/ 98425 h 263525"/>
                    <a:gd name="connsiteX17" fmla="*/ 946150 w 2309019"/>
                    <a:gd name="connsiteY17" fmla="*/ 82550 h 263525"/>
                    <a:gd name="connsiteX18" fmla="*/ 828675 w 2309019"/>
                    <a:gd name="connsiteY18" fmla="*/ 95250 h 263525"/>
                    <a:gd name="connsiteX19" fmla="*/ 765175 w 2309019"/>
                    <a:gd name="connsiteY19" fmla="*/ 82550 h 263525"/>
                    <a:gd name="connsiteX20" fmla="*/ 606425 w 2309019"/>
                    <a:gd name="connsiteY20" fmla="*/ 101600 h 263525"/>
                    <a:gd name="connsiteX21" fmla="*/ 488950 w 2309019"/>
                    <a:gd name="connsiteY21" fmla="*/ 136525 h 263525"/>
                    <a:gd name="connsiteX22" fmla="*/ 469900 w 2309019"/>
                    <a:gd name="connsiteY22" fmla="*/ 161925 h 263525"/>
                    <a:gd name="connsiteX23" fmla="*/ 431800 w 2309019"/>
                    <a:gd name="connsiteY23" fmla="*/ 146050 h 263525"/>
                    <a:gd name="connsiteX24" fmla="*/ 381000 w 2309019"/>
                    <a:gd name="connsiteY24" fmla="*/ 142875 h 263525"/>
                    <a:gd name="connsiteX25" fmla="*/ 333375 w 2309019"/>
                    <a:gd name="connsiteY25" fmla="*/ 161925 h 263525"/>
                    <a:gd name="connsiteX26" fmla="*/ 292100 w 2309019"/>
                    <a:gd name="connsiteY26" fmla="*/ 146050 h 263525"/>
                    <a:gd name="connsiteX27" fmla="*/ 149225 w 2309019"/>
                    <a:gd name="connsiteY27" fmla="*/ 146050 h 263525"/>
                    <a:gd name="connsiteX28" fmla="*/ 0 w 2309019"/>
                    <a:gd name="connsiteY28" fmla="*/ 155575 h 263525"/>
                    <a:gd name="connsiteX0" fmla="*/ 2305050 w 2475706"/>
                    <a:gd name="connsiteY0" fmla="*/ 228599 h 492124"/>
                    <a:gd name="connsiteX1" fmla="*/ 2475706 w 2475706"/>
                    <a:gd name="connsiteY1" fmla="*/ 0 h 492124"/>
                    <a:gd name="connsiteX2" fmla="*/ 2244725 w 2475706"/>
                    <a:gd name="connsiteY2" fmla="*/ 285749 h 492124"/>
                    <a:gd name="connsiteX3" fmla="*/ 2114550 w 2475706"/>
                    <a:gd name="connsiteY3" fmla="*/ 346074 h 492124"/>
                    <a:gd name="connsiteX4" fmla="*/ 2054225 w 2475706"/>
                    <a:gd name="connsiteY4" fmla="*/ 358774 h 492124"/>
                    <a:gd name="connsiteX5" fmla="*/ 1984375 w 2475706"/>
                    <a:gd name="connsiteY5" fmla="*/ 396874 h 492124"/>
                    <a:gd name="connsiteX6" fmla="*/ 1962150 w 2475706"/>
                    <a:gd name="connsiteY6" fmla="*/ 434974 h 492124"/>
                    <a:gd name="connsiteX7" fmla="*/ 1914525 w 2475706"/>
                    <a:gd name="connsiteY7" fmla="*/ 492124 h 492124"/>
                    <a:gd name="connsiteX8" fmla="*/ 1774825 w 2475706"/>
                    <a:gd name="connsiteY8" fmla="*/ 476249 h 492124"/>
                    <a:gd name="connsiteX9" fmla="*/ 1736725 w 2475706"/>
                    <a:gd name="connsiteY9" fmla="*/ 479424 h 492124"/>
                    <a:gd name="connsiteX10" fmla="*/ 1593850 w 2475706"/>
                    <a:gd name="connsiteY10" fmla="*/ 434974 h 492124"/>
                    <a:gd name="connsiteX11" fmla="*/ 1543050 w 2475706"/>
                    <a:gd name="connsiteY11" fmla="*/ 393699 h 492124"/>
                    <a:gd name="connsiteX12" fmla="*/ 1457325 w 2475706"/>
                    <a:gd name="connsiteY12" fmla="*/ 377824 h 492124"/>
                    <a:gd name="connsiteX13" fmla="*/ 1422400 w 2475706"/>
                    <a:gd name="connsiteY13" fmla="*/ 393699 h 492124"/>
                    <a:gd name="connsiteX14" fmla="*/ 1111250 w 2475706"/>
                    <a:gd name="connsiteY14" fmla="*/ 314324 h 492124"/>
                    <a:gd name="connsiteX15" fmla="*/ 1031875 w 2475706"/>
                    <a:gd name="connsiteY15" fmla="*/ 320674 h 492124"/>
                    <a:gd name="connsiteX16" fmla="*/ 987425 w 2475706"/>
                    <a:gd name="connsiteY16" fmla="*/ 327024 h 492124"/>
                    <a:gd name="connsiteX17" fmla="*/ 946150 w 2475706"/>
                    <a:gd name="connsiteY17" fmla="*/ 311149 h 492124"/>
                    <a:gd name="connsiteX18" fmla="*/ 828675 w 2475706"/>
                    <a:gd name="connsiteY18" fmla="*/ 323849 h 492124"/>
                    <a:gd name="connsiteX19" fmla="*/ 765175 w 2475706"/>
                    <a:gd name="connsiteY19" fmla="*/ 311149 h 492124"/>
                    <a:gd name="connsiteX20" fmla="*/ 606425 w 2475706"/>
                    <a:gd name="connsiteY20" fmla="*/ 330199 h 492124"/>
                    <a:gd name="connsiteX21" fmla="*/ 488950 w 2475706"/>
                    <a:gd name="connsiteY21" fmla="*/ 365124 h 492124"/>
                    <a:gd name="connsiteX22" fmla="*/ 469900 w 2475706"/>
                    <a:gd name="connsiteY22" fmla="*/ 390524 h 492124"/>
                    <a:gd name="connsiteX23" fmla="*/ 431800 w 2475706"/>
                    <a:gd name="connsiteY23" fmla="*/ 374649 h 492124"/>
                    <a:gd name="connsiteX24" fmla="*/ 381000 w 2475706"/>
                    <a:gd name="connsiteY24" fmla="*/ 371474 h 492124"/>
                    <a:gd name="connsiteX25" fmla="*/ 333375 w 2475706"/>
                    <a:gd name="connsiteY25" fmla="*/ 390524 h 492124"/>
                    <a:gd name="connsiteX26" fmla="*/ 292100 w 2475706"/>
                    <a:gd name="connsiteY26" fmla="*/ 374649 h 492124"/>
                    <a:gd name="connsiteX27" fmla="*/ 149225 w 2475706"/>
                    <a:gd name="connsiteY27" fmla="*/ 374649 h 492124"/>
                    <a:gd name="connsiteX28" fmla="*/ 0 w 2475706"/>
                    <a:gd name="connsiteY28" fmla="*/ 384174 h 492124"/>
                    <a:gd name="connsiteX0" fmla="*/ 2305050 w 2378075"/>
                    <a:gd name="connsiteY0" fmla="*/ 130968 h 394493"/>
                    <a:gd name="connsiteX1" fmla="*/ 2378075 w 2378075"/>
                    <a:gd name="connsiteY1" fmla="*/ 0 h 394493"/>
                    <a:gd name="connsiteX2" fmla="*/ 2244725 w 2378075"/>
                    <a:gd name="connsiteY2" fmla="*/ 188118 h 394493"/>
                    <a:gd name="connsiteX3" fmla="*/ 2114550 w 2378075"/>
                    <a:gd name="connsiteY3" fmla="*/ 248443 h 394493"/>
                    <a:gd name="connsiteX4" fmla="*/ 2054225 w 2378075"/>
                    <a:gd name="connsiteY4" fmla="*/ 261143 h 394493"/>
                    <a:gd name="connsiteX5" fmla="*/ 1984375 w 2378075"/>
                    <a:gd name="connsiteY5" fmla="*/ 299243 h 394493"/>
                    <a:gd name="connsiteX6" fmla="*/ 1962150 w 2378075"/>
                    <a:gd name="connsiteY6" fmla="*/ 337343 h 394493"/>
                    <a:gd name="connsiteX7" fmla="*/ 1914525 w 2378075"/>
                    <a:gd name="connsiteY7" fmla="*/ 394493 h 394493"/>
                    <a:gd name="connsiteX8" fmla="*/ 1774825 w 2378075"/>
                    <a:gd name="connsiteY8" fmla="*/ 378618 h 394493"/>
                    <a:gd name="connsiteX9" fmla="*/ 1736725 w 2378075"/>
                    <a:gd name="connsiteY9" fmla="*/ 381793 h 394493"/>
                    <a:gd name="connsiteX10" fmla="*/ 1593850 w 2378075"/>
                    <a:gd name="connsiteY10" fmla="*/ 337343 h 394493"/>
                    <a:gd name="connsiteX11" fmla="*/ 1543050 w 2378075"/>
                    <a:gd name="connsiteY11" fmla="*/ 296068 h 394493"/>
                    <a:gd name="connsiteX12" fmla="*/ 1457325 w 2378075"/>
                    <a:gd name="connsiteY12" fmla="*/ 280193 h 394493"/>
                    <a:gd name="connsiteX13" fmla="*/ 1422400 w 2378075"/>
                    <a:gd name="connsiteY13" fmla="*/ 296068 h 394493"/>
                    <a:gd name="connsiteX14" fmla="*/ 1111250 w 2378075"/>
                    <a:gd name="connsiteY14" fmla="*/ 216693 h 394493"/>
                    <a:gd name="connsiteX15" fmla="*/ 1031875 w 2378075"/>
                    <a:gd name="connsiteY15" fmla="*/ 223043 h 394493"/>
                    <a:gd name="connsiteX16" fmla="*/ 987425 w 2378075"/>
                    <a:gd name="connsiteY16" fmla="*/ 229393 h 394493"/>
                    <a:gd name="connsiteX17" fmla="*/ 946150 w 2378075"/>
                    <a:gd name="connsiteY17" fmla="*/ 213518 h 394493"/>
                    <a:gd name="connsiteX18" fmla="*/ 828675 w 2378075"/>
                    <a:gd name="connsiteY18" fmla="*/ 226218 h 394493"/>
                    <a:gd name="connsiteX19" fmla="*/ 765175 w 2378075"/>
                    <a:gd name="connsiteY19" fmla="*/ 213518 h 394493"/>
                    <a:gd name="connsiteX20" fmla="*/ 606425 w 2378075"/>
                    <a:gd name="connsiteY20" fmla="*/ 232568 h 394493"/>
                    <a:gd name="connsiteX21" fmla="*/ 488950 w 2378075"/>
                    <a:gd name="connsiteY21" fmla="*/ 267493 h 394493"/>
                    <a:gd name="connsiteX22" fmla="*/ 469900 w 2378075"/>
                    <a:gd name="connsiteY22" fmla="*/ 292893 h 394493"/>
                    <a:gd name="connsiteX23" fmla="*/ 431800 w 2378075"/>
                    <a:gd name="connsiteY23" fmla="*/ 277018 h 394493"/>
                    <a:gd name="connsiteX24" fmla="*/ 381000 w 2378075"/>
                    <a:gd name="connsiteY24" fmla="*/ 273843 h 394493"/>
                    <a:gd name="connsiteX25" fmla="*/ 333375 w 2378075"/>
                    <a:gd name="connsiteY25" fmla="*/ 292893 h 394493"/>
                    <a:gd name="connsiteX26" fmla="*/ 292100 w 2378075"/>
                    <a:gd name="connsiteY26" fmla="*/ 277018 h 394493"/>
                    <a:gd name="connsiteX27" fmla="*/ 149225 w 2378075"/>
                    <a:gd name="connsiteY27" fmla="*/ 277018 h 394493"/>
                    <a:gd name="connsiteX28" fmla="*/ 0 w 2378075"/>
                    <a:gd name="connsiteY28" fmla="*/ 286543 h 394493"/>
                    <a:gd name="connsiteX0" fmla="*/ 2305050 w 2640012"/>
                    <a:gd name="connsiteY0" fmla="*/ 842962 h 1106487"/>
                    <a:gd name="connsiteX1" fmla="*/ 2640012 w 2640012"/>
                    <a:gd name="connsiteY1" fmla="*/ 0 h 1106487"/>
                    <a:gd name="connsiteX2" fmla="*/ 2244725 w 2640012"/>
                    <a:gd name="connsiteY2" fmla="*/ 900112 h 1106487"/>
                    <a:gd name="connsiteX3" fmla="*/ 2114550 w 2640012"/>
                    <a:gd name="connsiteY3" fmla="*/ 960437 h 1106487"/>
                    <a:gd name="connsiteX4" fmla="*/ 2054225 w 2640012"/>
                    <a:gd name="connsiteY4" fmla="*/ 973137 h 1106487"/>
                    <a:gd name="connsiteX5" fmla="*/ 1984375 w 2640012"/>
                    <a:gd name="connsiteY5" fmla="*/ 1011237 h 1106487"/>
                    <a:gd name="connsiteX6" fmla="*/ 1962150 w 2640012"/>
                    <a:gd name="connsiteY6" fmla="*/ 1049337 h 1106487"/>
                    <a:gd name="connsiteX7" fmla="*/ 1914525 w 2640012"/>
                    <a:gd name="connsiteY7" fmla="*/ 1106487 h 1106487"/>
                    <a:gd name="connsiteX8" fmla="*/ 1774825 w 2640012"/>
                    <a:gd name="connsiteY8" fmla="*/ 1090612 h 1106487"/>
                    <a:gd name="connsiteX9" fmla="*/ 1736725 w 2640012"/>
                    <a:gd name="connsiteY9" fmla="*/ 1093787 h 1106487"/>
                    <a:gd name="connsiteX10" fmla="*/ 1593850 w 2640012"/>
                    <a:gd name="connsiteY10" fmla="*/ 1049337 h 1106487"/>
                    <a:gd name="connsiteX11" fmla="*/ 1543050 w 2640012"/>
                    <a:gd name="connsiteY11" fmla="*/ 1008062 h 1106487"/>
                    <a:gd name="connsiteX12" fmla="*/ 1457325 w 2640012"/>
                    <a:gd name="connsiteY12" fmla="*/ 992187 h 1106487"/>
                    <a:gd name="connsiteX13" fmla="*/ 1422400 w 2640012"/>
                    <a:gd name="connsiteY13" fmla="*/ 1008062 h 1106487"/>
                    <a:gd name="connsiteX14" fmla="*/ 1111250 w 2640012"/>
                    <a:gd name="connsiteY14" fmla="*/ 928687 h 1106487"/>
                    <a:gd name="connsiteX15" fmla="*/ 1031875 w 2640012"/>
                    <a:gd name="connsiteY15" fmla="*/ 935037 h 1106487"/>
                    <a:gd name="connsiteX16" fmla="*/ 987425 w 2640012"/>
                    <a:gd name="connsiteY16" fmla="*/ 941387 h 1106487"/>
                    <a:gd name="connsiteX17" fmla="*/ 946150 w 2640012"/>
                    <a:gd name="connsiteY17" fmla="*/ 925512 h 1106487"/>
                    <a:gd name="connsiteX18" fmla="*/ 828675 w 2640012"/>
                    <a:gd name="connsiteY18" fmla="*/ 938212 h 1106487"/>
                    <a:gd name="connsiteX19" fmla="*/ 765175 w 2640012"/>
                    <a:gd name="connsiteY19" fmla="*/ 925512 h 1106487"/>
                    <a:gd name="connsiteX20" fmla="*/ 606425 w 2640012"/>
                    <a:gd name="connsiteY20" fmla="*/ 944562 h 1106487"/>
                    <a:gd name="connsiteX21" fmla="*/ 488950 w 2640012"/>
                    <a:gd name="connsiteY21" fmla="*/ 979487 h 1106487"/>
                    <a:gd name="connsiteX22" fmla="*/ 469900 w 2640012"/>
                    <a:gd name="connsiteY22" fmla="*/ 1004887 h 1106487"/>
                    <a:gd name="connsiteX23" fmla="*/ 431800 w 2640012"/>
                    <a:gd name="connsiteY23" fmla="*/ 989012 h 1106487"/>
                    <a:gd name="connsiteX24" fmla="*/ 381000 w 2640012"/>
                    <a:gd name="connsiteY24" fmla="*/ 985837 h 1106487"/>
                    <a:gd name="connsiteX25" fmla="*/ 333375 w 2640012"/>
                    <a:gd name="connsiteY25" fmla="*/ 1004887 h 1106487"/>
                    <a:gd name="connsiteX26" fmla="*/ 292100 w 2640012"/>
                    <a:gd name="connsiteY26" fmla="*/ 989012 h 1106487"/>
                    <a:gd name="connsiteX27" fmla="*/ 149225 w 2640012"/>
                    <a:gd name="connsiteY27" fmla="*/ 989012 h 1106487"/>
                    <a:gd name="connsiteX28" fmla="*/ 0 w 2640012"/>
                    <a:gd name="connsiteY28" fmla="*/ 998537 h 1106487"/>
                    <a:gd name="connsiteX0" fmla="*/ 2640012 w 2640012"/>
                    <a:gd name="connsiteY0" fmla="*/ 0 h 1106487"/>
                    <a:gd name="connsiteX1" fmla="*/ 2244725 w 2640012"/>
                    <a:gd name="connsiteY1" fmla="*/ 900112 h 1106487"/>
                    <a:gd name="connsiteX2" fmla="*/ 2114550 w 2640012"/>
                    <a:gd name="connsiteY2" fmla="*/ 960437 h 1106487"/>
                    <a:gd name="connsiteX3" fmla="*/ 2054225 w 2640012"/>
                    <a:gd name="connsiteY3" fmla="*/ 973137 h 1106487"/>
                    <a:gd name="connsiteX4" fmla="*/ 1984375 w 2640012"/>
                    <a:gd name="connsiteY4" fmla="*/ 1011237 h 1106487"/>
                    <a:gd name="connsiteX5" fmla="*/ 1962150 w 2640012"/>
                    <a:gd name="connsiteY5" fmla="*/ 1049337 h 1106487"/>
                    <a:gd name="connsiteX6" fmla="*/ 1914525 w 2640012"/>
                    <a:gd name="connsiteY6" fmla="*/ 1106487 h 1106487"/>
                    <a:gd name="connsiteX7" fmla="*/ 1774825 w 2640012"/>
                    <a:gd name="connsiteY7" fmla="*/ 1090612 h 1106487"/>
                    <a:gd name="connsiteX8" fmla="*/ 1736725 w 2640012"/>
                    <a:gd name="connsiteY8" fmla="*/ 1093787 h 1106487"/>
                    <a:gd name="connsiteX9" fmla="*/ 1593850 w 2640012"/>
                    <a:gd name="connsiteY9" fmla="*/ 1049337 h 1106487"/>
                    <a:gd name="connsiteX10" fmla="*/ 1543050 w 2640012"/>
                    <a:gd name="connsiteY10" fmla="*/ 1008062 h 1106487"/>
                    <a:gd name="connsiteX11" fmla="*/ 1457325 w 2640012"/>
                    <a:gd name="connsiteY11" fmla="*/ 992187 h 1106487"/>
                    <a:gd name="connsiteX12" fmla="*/ 1422400 w 2640012"/>
                    <a:gd name="connsiteY12" fmla="*/ 1008062 h 1106487"/>
                    <a:gd name="connsiteX13" fmla="*/ 1111250 w 2640012"/>
                    <a:gd name="connsiteY13" fmla="*/ 928687 h 1106487"/>
                    <a:gd name="connsiteX14" fmla="*/ 1031875 w 2640012"/>
                    <a:gd name="connsiteY14" fmla="*/ 935037 h 1106487"/>
                    <a:gd name="connsiteX15" fmla="*/ 987425 w 2640012"/>
                    <a:gd name="connsiteY15" fmla="*/ 941387 h 1106487"/>
                    <a:gd name="connsiteX16" fmla="*/ 946150 w 2640012"/>
                    <a:gd name="connsiteY16" fmla="*/ 925512 h 1106487"/>
                    <a:gd name="connsiteX17" fmla="*/ 828675 w 2640012"/>
                    <a:gd name="connsiteY17" fmla="*/ 938212 h 1106487"/>
                    <a:gd name="connsiteX18" fmla="*/ 765175 w 2640012"/>
                    <a:gd name="connsiteY18" fmla="*/ 925512 h 1106487"/>
                    <a:gd name="connsiteX19" fmla="*/ 606425 w 2640012"/>
                    <a:gd name="connsiteY19" fmla="*/ 944562 h 1106487"/>
                    <a:gd name="connsiteX20" fmla="*/ 488950 w 2640012"/>
                    <a:gd name="connsiteY20" fmla="*/ 979487 h 1106487"/>
                    <a:gd name="connsiteX21" fmla="*/ 469900 w 2640012"/>
                    <a:gd name="connsiteY21" fmla="*/ 1004887 h 1106487"/>
                    <a:gd name="connsiteX22" fmla="*/ 431800 w 2640012"/>
                    <a:gd name="connsiteY22" fmla="*/ 989012 h 1106487"/>
                    <a:gd name="connsiteX23" fmla="*/ 381000 w 2640012"/>
                    <a:gd name="connsiteY23" fmla="*/ 985837 h 1106487"/>
                    <a:gd name="connsiteX24" fmla="*/ 333375 w 2640012"/>
                    <a:gd name="connsiteY24" fmla="*/ 1004887 h 1106487"/>
                    <a:gd name="connsiteX25" fmla="*/ 292100 w 2640012"/>
                    <a:gd name="connsiteY25" fmla="*/ 989012 h 1106487"/>
                    <a:gd name="connsiteX26" fmla="*/ 149225 w 2640012"/>
                    <a:gd name="connsiteY26" fmla="*/ 989012 h 1106487"/>
                    <a:gd name="connsiteX27" fmla="*/ 0 w 2640012"/>
                    <a:gd name="connsiteY27" fmla="*/ 998537 h 1106487"/>
                    <a:gd name="connsiteX0" fmla="*/ 2640012 w 2640012"/>
                    <a:gd name="connsiteY0" fmla="*/ 0 h 1106487"/>
                    <a:gd name="connsiteX1" fmla="*/ 2349499 w 2640012"/>
                    <a:gd name="connsiteY1" fmla="*/ 769143 h 1106487"/>
                    <a:gd name="connsiteX2" fmla="*/ 2244725 w 2640012"/>
                    <a:gd name="connsiteY2" fmla="*/ 900112 h 1106487"/>
                    <a:gd name="connsiteX3" fmla="*/ 2114550 w 2640012"/>
                    <a:gd name="connsiteY3" fmla="*/ 960437 h 1106487"/>
                    <a:gd name="connsiteX4" fmla="*/ 2054225 w 2640012"/>
                    <a:gd name="connsiteY4" fmla="*/ 973137 h 1106487"/>
                    <a:gd name="connsiteX5" fmla="*/ 1984375 w 2640012"/>
                    <a:gd name="connsiteY5" fmla="*/ 1011237 h 1106487"/>
                    <a:gd name="connsiteX6" fmla="*/ 1962150 w 2640012"/>
                    <a:gd name="connsiteY6" fmla="*/ 1049337 h 1106487"/>
                    <a:gd name="connsiteX7" fmla="*/ 1914525 w 2640012"/>
                    <a:gd name="connsiteY7" fmla="*/ 1106487 h 1106487"/>
                    <a:gd name="connsiteX8" fmla="*/ 1774825 w 2640012"/>
                    <a:gd name="connsiteY8" fmla="*/ 1090612 h 1106487"/>
                    <a:gd name="connsiteX9" fmla="*/ 1736725 w 2640012"/>
                    <a:gd name="connsiteY9" fmla="*/ 1093787 h 1106487"/>
                    <a:gd name="connsiteX10" fmla="*/ 1593850 w 2640012"/>
                    <a:gd name="connsiteY10" fmla="*/ 1049337 h 1106487"/>
                    <a:gd name="connsiteX11" fmla="*/ 1543050 w 2640012"/>
                    <a:gd name="connsiteY11" fmla="*/ 1008062 h 1106487"/>
                    <a:gd name="connsiteX12" fmla="*/ 1457325 w 2640012"/>
                    <a:gd name="connsiteY12" fmla="*/ 992187 h 1106487"/>
                    <a:gd name="connsiteX13" fmla="*/ 1422400 w 2640012"/>
                    <a:gd name="connsiteY13" fmla="*/ 1008062 h 1106487"/>
                    <a:gd name="connsiteX14" fmla="*/ 1111250 w 2640012"/>
                    <a:gd name="connsiteY14" fmla="*/ 928687 h 1106487"/>
                    <a:gd name="connsiteX15" fmla="*/ 1031875 w 2640012"/>
                    <a:gd name="connsiteY15" fmla="*/ 935037 h 1106487"/>
                    <a:gd name="connsiteX16" fmla="*/ 987425 w 2640012"/>
                    <a:gd name="connsiteY16" fmla="*/ 941387 h 1106487"/>
                    <a:gd name="connsiteX17" fmla="*/ 946150 w 2640012"/>
                    <a:gd name="connsiteY17" fmla="*/ 925512 h 1106487"/>
                    <a:gd name="connsiteX18" fmla="*/ 828675 w 2640012"/>
                    <a:gd name="connsiteY18" fmla="*/ 938212 h 1106487"/>
                    <a:gd name="connsiteX19" fmla="*/ 765175 w 2640012"/>
                    <a:gd name="connsiteY19" fmla="*/ 925512 h 1106487"/>
                    <a:gd name="connsiteX20" fmla="*/ 606425 w 2640012"/>
                    <a:gd name="connsiteY20" fmla="*/ 944562 h 1106487"/>
                    <a:gd name="connsiteX21" fmla="*/ 488950 w 2640012"/>
                    <a:gd name="connsiteY21" fmla="*/ 979487 h 1106487"/>
                    <a:gd name="connsiteX22" fmla="*/ 469900 w 2640012"/>
                    <a:gd name="connsiteY22" fmla="*/ 1004887 h 1106487"/>
                    <a:gd name="connsiteX23" fmla="*/ 431800 w 2640012"/>
                    <a:gd name="connsiteY23" fmla="*/ 989012 h 1106487"/>
                    <a:gd name="connsiteX24" fmla="*/ 381000 w 2640012"/>
                    <a:gd name="connsiteY24" fmla="*/ 985837 h 1106487"/>
                    <a:gd name="connsiteX25" fmla="*/ 333375 w 2640012"/>
                    <a:gd name="connsiteY25" fmla="*/ 1004887 h 1106487"/>
                    <a:gd name="connsiteX26" fmla="*/ 292100 w 2640012"/>
                    <a:gd name="connsiteY26" fmla="*/ 989012 h 1106487"/>
                    <a:gd name="connsiteX27" fmla="*/ 149225 w 2640012"/>
                    <a:gd name="connsiteY27" fmla="*/ 989012 h 1106487"/>
                    <a:gd name="connsiteX28" fmla="*/ 0 w 2640012"/>
                    <a:gd name="connsiteY28" fmla="*/ 998537 h 1106487"/>
                    <a:gd name="connsiteX0" fmla="*/ 2640012 w 2640012"/>
                    <a:gd name="connsiteY0" fmla="*/ 0 h 1106487"/>
                    <a:gd name="connsiteX1" fmla="*/ 2404268 w 2640012"/>
                    <a:gd name="connsiteY1" fmla="*/ 709612 h 1106487"/>
                    <a:gd name="connsiteX2" fmla="*/ 2349499 w 2640012"/>
                    <a:gd name="connsiteY2" fmla="*/ 769143 h 1106487"/>
                    <a:gd name="connsiteX3" fmla="*/ 2244725 w 2640012"/>
                    <a:gd name="connsiteY3" fmla="*/ 900112 h 1106487"/>
                    <a:gd name="connsiteX4" fmla="*/ 2114550 w 2640012"/>
                    <a:gd name="connsiteY4" fmla="*/ 960437 h 1106487"/>
                    <a:gd name="connsiteX5" fmla="*/ 2054225 w 2640012"/>
                    <a:gd name="connsiteY5" fmla="*/ 973137 h 1106487"/>
                    <a:gd name="connsiteX6" fmla="*/ 1984375 w 2640012"/>
                    <a:gd name="connsiteY6" fmla="*/ 1011237 h 1106487"/>
                    <a:gd name="connsiteX7" fmla="*/ 1962150 w 2640012"/>
                    <a:gd name="connsiteY7" fmla="*/ 1049337 h 1106487"/>
                    <a:gd name="connsiteX8" fmla="*/ 1914525 w 2640012"/>
                    <a:gd name="connsiteY8" fmla="*/ 1106487 h 1106487"/>
                    <a:gd name="connsiteX9" fmla="*/ 1774825 w 2640012"/>
                    <a:gd name="connsiteY9" fmla="*/ 1090612 h 1106487"/>
                    <a:gd name="connsiteX10" fmla="*/ 1736725 w 2640012"/>
                    <a:gd name="connsiteY10" fmla="*/ 1093787 h 1106487"/>
                    <a:gd name="connsiteX11" fmla="*/ 1593850 w 2640012"/>
                    <a:gd name="connsiteY11" fmla="*/ 1049337 h 1106487"/>
                    <a:gd name="connsiteX12" fmla="*/ 1543050 w 2640012"/>
                    <a:gd name="connsiteY12" fmla="*/ 1008062 h 1106487"/>
                    <a:gd name="connsiteX13" fmla="*/ 1457325 w 2640012"/>
                    <a:gd name="connsiteY13" fmla="*/ 992187 h 1106487"/>
                    <a:gd name="connsiteX14" fmla="*/ 1422400 w 2640012"/>
                    <a:gd name="connsiteY14" fmla="*/ 1008062 h 1106487"/>
                    <a:gd name="connsiteX15" fmla="*/ 1111250 w 2640012"/>
                    <a:gd name="connsiteY15" fmla="*/ 928687 h 1106487"/>
                    <a:gd name="connsiteX16" fmla="*/ 1031875 w 2640012"/>
                    <a:gd name="connsiteY16" fmla="*/ 935037 h 1106487"/>
                    <a:gd name="connsiteX17" fmla="*/ 987425 w 2640012"/>
                    <a:gd name="connsiteY17" fmla="*/ 941387 h 1106487"/>
                    <a:gd name="connsiteX18" fmla="*/ 946150 w 2640012"/>
                    <a:gd name="connsiteY18" fmla="*/ 925512 h 1106487"/>
                    <a:gd name="connsiteX19" fmla="*/ 828675 w 2640012"/>
                    <a:gd name="connsiteY19" fmla="*/ 938212 h 1106487"/>
                    <a:gd name="connsiteX20" fmla="*/ 765175 w 2640012"/>
                    <a:gd name="connsiteY20" fmla="*/ 925512 h 1106487"/>
                    <a:gd name="connsiteX21" fmla="*/ 606425 w 2640012"/>
                    <a:gd name="connsiteY21" fmla="*/ 944562 h 1106487"/>
                    <a:gd name="connsiteX22" fmla="*/ 488950 w 2640012"/>
                    <a:gd name="connsiteY22" fmla="*/ 979487 h 1106487"/>
                    <a:gd name="connsiteX23" fmla="*/ 469900 w 2640012"/>
                    <a:gd name="connsiteY23" fmla="*/ 1004887 h 1106487"/>
                    <a:gd name="connsiteX24" fmla="*/ 431800 w 2640012"/>
                    <a:gd name="connsiteY24" fmla="*/ 989012 h 1106487"/>
                    <a:gd name="connsiteX25" fmla="*/ 381000 w 2640012"/>
                    <a:gd name="connsiteY25" fmla="*/ 985837 h 1106487"/>
                    <a:gd name="connsiteX26" fmla="*/ 333375 w 2640012"/>
                    <a:gd name="connsiteY26" fmla="*/ 1004887 h 1106487"/>
                    <a:gd name="connsiteX27" fmla="*/ 292100 w 2640012"/>
                    <a:gd name="connsiteY27" fmla="*/ 989012 h 1106487"/>
                    <a:gd name="connsiteX28" fmla="*/ 149225 w 2640012"/>
                    <a:gd name="connsiteY28" fmla="*/ 989012 h 1106487"/>
                    <a:gd name="connsiteX29" fmla="*/ 0 w 2640012"/>
                    <a:gd name="connsiteY29" fmla="*/ 998537 h 1106487"/>
                    <a:gd name="connsiteX0" fmla="*/ 2640012 w 2640012"/>
                    <a:gd name="connsiteY0" fmla="*/ 0 h 1106487"/>
                    <a:gd name="connsiteX1" fmla="*/ 2475705 w 2640012"/>
                    <a:gd name="connsiteY1" fmla="*/ 502443 h 1106487"/>
                    <a:gd name="connsiteX2" fmla="*/ 2404268 w 2640012"/>
                    <a:gd name="connsiteY2" fmla="*/ 709612 h 1106487"/>
                    <a:gd name="connsiteX3" fmla="*/ 2349499 w 2640012"/>
                    <a:gd name="connsiteY3" fmla="*/ 769143 h 1106487"/>
                    <a:gd name="connsiteX4" fmla="*/ 2244725 w 2640012"/>
                    <a:gd name="connsiteY4" fmla="*/ 900112 h 1106487"/>
                    <a:gd name="connsiteX5" fmla="*/ 2114550 w 2640012"/>
                    <a:gd name="connsiteY5" fmla="*/ 960437 h 1106487"/>
                    <a:gd name="connsiteX6" fmla="*/ 2054225 w 2640012"/>
                    <a:gd name="connsiteY6" fmla="*/ 973137 h 1106487"/>
                    <a:gd name="connsiteX7" fmla="*/ 1984375 w 2640012"/>
                    <a:gd name="connsiteY7" fmla="*/ 1011237 h 1106487"/>
                    <a:gd name="connsiteX8" fmla="*/ 1962150 w 2640012"/>
                    <a:gd name="connsiteY8" fmla="*/ 1049337 h 1106487"/>
                    <a:gd name="connsiteX9" fmla="*/ 1914525 w 2640012"/>
                    <a:gd name="connsiteY9" fmla="*/ 1106487 h 1106487"/>
                    <a:gd name="connsiteX10" fmla="*/ 1774825 w 2640012"/>
                    <a:gd name="connsiteY10" fmla="*/ 1090612 h 1106487"/>
                    <a:gd name="connsiteX11" fmla="*/ 1736725 w 2640012"/>
                    <a:gd name="connsiteY11" fmla="*/ 1093787 h 1106487"/>
                    <a:gd name="connsiteX12" fmla="*/ 1593850 w 2640012"/>
                    <a:gd name="connsiteY12" fmla="*/ 1049337 h 1106487"/>
                    <a:gd name="connsiteX13" fmla="*/ 1543050 w 2640012"/>
                    <a:gd name="connsiteY13" fmla="*/ 1008062 h 1106487"/>
                    <a:gd name="connsiteX14" fmla="*/ 1457325 w 2640012"/>
                    <a:gd name="connsiteY14" fmla="*/ 992187 h 1106487"/>
                    <a:gd name="connsiteX15" fmla="*/ 1422400 w 2640012"/>
                    <a:gd name="connsiteY15" fmla="*/ 1008062 h 1106487"/>
                    <a:gd name="connsiteX16" fmla="*/ 1111250 w 2640012"/>
                    <a:gd name="connsiteY16" fmla="*/ 928687 h 1106487"/>
                    <a:gd name="connsiteX17" fmla="*/ 1031875 w 2640012"/>
                    <a:gd name="connsiteY17" fmla="*/ 935037 h 1106487"/>
                    <a:gd name="connsiteX18" fmla="*/ 987425 w 2640012"/>
                    <a:gd name="connsiteY18" fmla="*/ 941387 h 1106487"/>
                    <a:gd name="connsiteX19" fmla="*/ 946150 w 2640012"/>
                    <a:gd name="connsiteY19" fmla="*/ 925512 h 1106487"/>
                    <a:gd name="connsiteX20" fmla="*/ 828675 w 2640012"/>
                    <a:gd name="connsiteY20" fmla="*/ 938212 h 1106487"/>
                    <a:gd name="connsiteX21" fmla="*/ 765175 w 2640012"/>
                    <a:gd name="connsiteY21" fmla="*/ 925512 h 1106487"/>
                    <a:gd name="connsiteX22" fmla="*/ 606425 w 2640012"/>
                    <a:gd name="connsiteY22" fmla="*/ 944562 h 1106487"/>
                    <a:gd name="connsiteX23" fmla="*/ 488950 w 2640012"/>
                    <a:gd name="connsiteY23" fmla="*/ 979487 h 1106487"/>
                    <a:gd name="connsiteX24" fmla="*/ 469900 w 2640012"/>
                    <a:gd name="connsiteY24" fmla="*/ 1004887 h 1106487"/>
                    <a:gd name="connsiteX25" fmla="*/ 431800 w 2640012"/>
                    <a:gd name="connsiteY25" fmla="*/ 989012 h 1106487"/>
                    <a:gd name="connsiteX26" fmla="*/ 381000 w 2640012"/>
                    <a:gd name="connsiteY26" fmla="*/ 985837 h 1106487"/>
                    <a:gd name="connsiteX27" fmla="*/ 333375 w 2640012"/>
                    <a:gd name="connsiteY27" fmla="*/ 1004887 h 1106487"/>
                    <a:gd name="connsiteX28" fmla="*/ 292100 w 2640012"/>
                    <a:gd name="connsiteY28" fmla="*/ 989012 h 1106487"/>
                    <a:gd name="connsiteX29" fmla="*/ 149225 w 2640012"/>
                    <a:gd name="connsiteY29" fmla="*/ 989012 h 1106487"/>
                    <a:gd name="connsiteX30" fmla="*/ 0 w 2640012"/>
                    <a:gd name="connsiteY30" fmla="*/ 998537 h 1106487"/>
                    <a:gd name="connsiteX0" fmla="*/ 2640012 w 2640012"/>
                    <a:gd name="connsiteY0" fmla="*/ 0 h 1106487"/>
                    <a:gd name="connsiteX1" fmla="*/ 2504280 w 2640012"/>
                    <a:gd name="connsiteY1" fmla="*/ 557212 h 1106487"/>
                    <a:gd name="connsiteX2" fmla="*/ 2404268 w 2640012"/>
                    <a:gd name="connsiteY2" fmla="*/ 709612 h 1106487"/>
                    <a:gd name="connsiteX3" fmla="*/ 2349499 w 2640012"/>
                    <a:gd name="connsiteY3" fmla="*/ 769143 h 1106487"/>
                    <a:gd name="connsiteX4" fmla="*/ 2244725 w 2640012"/>
                    <a:gd name="connsiteY4" fmla="*/ 900112 h 1106487"/>
                    <a:gd name="connsiteX5" fmla="*/ 2114550 w 2640012"/>
                    <a:gd name="connsiteY5" fmla="*/ 960437 h 1106487"/>
                    <a:gd name="connsiteX6" fmla="*/ 2054225 w 2640012"/>
                    <a:gd name="connsiteY6" fmla="*/ 973137 h 1106487"/>
                    <a:gd name="connsiteX7" fmla="*/ 1984375 w 2640012"/>
                    <a:gd name="connsiteY7" fmla="*/ 1011237 h 1106487"/>
                    <a:gd name="connsiteX8" fmla="*/ 1962150 w 2640012"/>
                    <a:gd name="connsiteY8" fmla="*/ 1049337 h 1106487"/>
                    <a:gd name="connsiteX9" fmla="*/ 1914525 w 2640012"/>
                    <a:gd name="connsiteY9" fmla="*/ 1106487 h 1106487"/>
                    <a:gd name="connsiteX10" fmla="*/ 1774825 w 2640012"/>
                    <a:gd name="connsiteY10" fmla="*/ 1090612 h 1106487"/>
                    <a:gd name="connsiteX11" fmla="*/ 1736725 w 2640012"/>
                    <a:gd name="connsiteY11" fmla="*/ 1093787 h 1106487"/>
                    <a:gd name="connsiteX12" fmla="*/ 1593850 w 2640012"/>
                    <a:gd name="connsiteY12" fmla="*/ 1049337 h 1106487"/>
                    <a:gd name="connsiteX13" fmla="*/ 1543050 w 2640012"/>
                    <a:gd name="connsiteY13" fmla="*/ 1008062 h 1106487"/>
                    <a:gd name="connsiteX14" fmla="*/ 1457325 w 2640012"/>
                    <a:gd name="connsiteY14" fmla="*/ 992187 h 1106487"/>
                    <a:gd name="connsiteX15" fmla="*/ 1422400 w 2640012"/>
                    <a:gd name="connsiteY15" fmla="*/ 1008062 h 1106487"/>
                    <a:gd name="connsiteX16" fmla="*/ 1111250 w 2640012"/>
                    <a:gd name="connsiteY16" fmla="*/ 928687 h 1106487"/>
                    <a:gd name="connsiteX17" fmla="*/ 1031875 w 2640012"/>
                    <a:gd name="connsiteY17" fmla="*/ 935037 h 1106487"/>
                    <a:gd name="connsiteX18" fmla="*/ 987425 w 2640012"/>
                    <a:gd name="connsiteY18" fmla="*/ 941387 h 1106487"/>
                    <a:gd name="connsiteX19" fmla="*/ 946150 w 2640012"/>
                    <a:gd name="connsiteY19" fmla="*/ 925512 h 1106487"/>
                    <a:gd name="connsiteX20" fmla="*/ 828675 w 2640012"/>
                    <a:gd name="connsiteY20" fmla="*/ 938212 h 1106487"/>
                    <a:gd name="connsiteX21" fmla="*/ 765175 w 2640012"/>
                    <a:gd name="connsiteY21" fmla="*/ 925512 h 1106487"/>
                    <a:gd name="connsiteX22" fmla="*/ 606425 w 2640012"/>
                    <a:gd name="connsiteY22" fmla="*/ 944562 h 1106487"/>
                    <a:gd name="connsiteX23" fmla="*/ 488950 w 2640012"/>
                    <a:gd name="connsiteY23" fmla="*/ 979487 h 1106487"/>
                    <a:gd name="connsiteX24" fmla="*/ 469900 w 2640012"/>
                    <a:gd name="connsiteY24" fmla="*/ 1004887 h 1106487"/>
                    <a:gd name="connsiteX25" fmla="*/ 431800 w 2640012"/>
                    <a:gd name="connsiteY25" fmla="*/ 989012 h 1106487"/>
                    <a:gd name="connsiteX26" fmla="*/ 381000 w 2640012"/>
                    <a:gd name="connsiteY26" fmla="*/ 985837 h 1106487"/>
                    <a:gd name="connsiteX27" fmla="*/ 333375 w 2640012"/>
                    <a:gd name="connsiteY27" fmla="*/ 1004887 h 1106487"/>
                    <a:gd name="connsiteX28" fmla="*/ 292100 w 2640012"/>
                    <a:gd name="connsiteY28" fmla="*/ 989012 h 1106487"/>
                    <a:gd name="connsiteX29" fmla="*/ 149225 w 2640012"/>
                    <a:gd name="connsiteY29" fmla="*/ 989012 h 1106487"/>
                    <a:gd name="connsiteX30" fmla="*/ 0 w 2640012"/>
                    <a:gd name="connsiteY30" fmla="*/ 998537 h 1106487"/>
                    <a:gd name="connsiteX0" fmla="*/ 2640012 w 2640012"/>
                    <a:gd name="connsiteY0" fmla="*/ 0 h 1106487"/>
                    <a:gd name="connsiteX1" fmla="*/ 2504280 w 2640012"/>
                    <a:gd name="connsiteY1" fmla="*/ 557212 h 1106487"/>
                    <a:gd name="connsiteX2" fmla="*/ 2404268 w 2640012"/>
                    <a:gd name="connsiteY2" fmla="*/ 709612 h 1106487"/>
                    <a:gd name="connsiteX3" fmla="*/ 2349499 w 2640012"/>
                    <a:gd name="connsiteY3" fmla="*/ 769143 h 1106487"/>
                    <a:gd name="connsiteX4" fmla="*/ 2244725 w 2640012"/>
                    <a:gd name="connsiteY4" fmla="*/ 900112 h 1106487"/>
                    <a:gd name="connsiteX5" fmla="*/ 2114550 w 2640012"/>
                    <a:gd name="connsiteY5" fmla="*/ 960437 h 1106487"/>
                    <a:gd name="connsiteX6" fmla="*/ 2054225 w 2640012"/>
                    <a:gd name="connsiteY6" fmla="*/ 973137 h 1106487"/>
                    <a:gd name="connsiteX7" fmla="*/ 1984375 w 2640012"/>
                    <a:gd name="connsiteY7" fmla="*/ 1011237 h 1106487"/>
                    <a:gd name="connsiteX8" fmla="*/ 1962150 w 2640012"/>
                    <a:gd name="connsiteY8" fmla="*/ 1049337 h 1106487"/>
                    <a:gd name="connsiteX9" fmla="*/ 1914525 w 2640012"/>
                    <a:gd name="connsiteY9" fmla="*/ 1106487 h 1106487"/>
                    <a:gd name="connsiteX10" fmla="*/ 1774825 w 2640012"/>
                    <a:gd name="connsiteY10" fmla="*/ 1090612 h 1106487"/>
                    <a:gd name="connsiteX11" fmla="*/ 1736725 w 2640012"/>
                    <a:gd name="connsiteY11" fmla="*/ 1093787 h 1106487"/>
                    <a:gd name="connsiteX12" fmla="*/ 1593850 w 2640012"/>
                    <a:gd name="connsiteY12" fmla="*/ 1049337 h 1106487"/>
                    <a:gd name="connsiteX13" fmla="*/ 1543050 w 2640012"/>
                    <a:gd name="connsiteY13" fmla="*/ 1008062 h 1106487"/>
                    <a:gd name="connsiteX14" fmla="*/ 1457325 w 2640012"/>
                    <a:gd name="connsiteY14" fmla="*/ 992187 h 1106487"/>
                    <a:gd name="connsiteX15" fmla="*/ 1422400 w 2640012"/>
                    <a:gd name="connsiteY15" fmla="*/ 1008062 h 1106487"/>
                    <a:gd name="connsiteX16" fmla="*/ 1111250 w 2640012"/>
                    <a:gd name="connsiteY16" fmla="*/ 928687 h 1106487"/>
                    <a:gd name="connsiteX17" fmla="*/ 1031875 w 2640012"/>
                    <a:gd name="connsiteY17" fmla="*/ 935037 h 1106487"/>
                    <a:gd name="connsiteX18" fmla="*/ 987425 w 2640012"/>
                    <a:gd name="connsiteY18" fmla="*/ 941387 h 1106487"/>
                    <a:gd name="connsiteX19" fmla="*/ 946150 w 2640012"/>
                    <a:gd name="connsiteY19" fmla="*/ 925512 h 1106487"/>
                    <a:gd name="connsiteX20" fmla="*/ 828675 w 2640012"/>
                    <a:gd name="connsiteY20" fmla="*/ 938212 h 1106487"/>
                    <a:gd name="connsiteX21" fmla="*/ 765175 w 2640012"/>
                    <a:gd name="connsiteY21" fmla="*/ 925512 h 1106487"/>
                    <a:gd name="connsiteX22" fmla="*/ 606425 w 2640012"/>
                    <a:gd name="connsiteY22" fmla="*/ 944562 h 1106487"/>
                    <a:gd name="connsiteX23" fmla="*/ 488950 w 2640012"/>
                    <a:gd name="connsiteY23" fmla="*/ 979487 h 1106487"/>
                    <a:gd name="connsiteX24" fmla="*/ 469900 w 2640012"/>
                    <a:gd name="connsiteY24" fmla="*/ 1004887 h 1106487"/>
                    <a:gd name="connsiteX25" fmla="*/ 431800 w 2640012"/>
                    <a:gd name="connsiteY25" fmla="*/ 989012 h 1106487"/>
                    <a:gd name="connsiteX26" fmla="*/ 381000 w 2640012"/>
                    <a:gd name="connsiteY26" fmla="*/ 985837 h 1106487"/>
                    <a:gd name="connsiteX27" fmla="*/ 333375 w 2640012"/>
                    <a:gd name="connsiteY27" fmla="*/ 1004887 h 1106487"/>
                    <a:gd name="connsiteX28" fmla="*/ 292100 w 2640012"/>
                    <a:gd name="connsiteY28" fmla="*/ 989012 h 1106487"/>
                    <a:gd name="connsiteX29" fmla="*/ 149225 w 2640012"/>
                    <a:gd name="connsiteY29" fmla="*/ 989012 h 1106487"/>
                    <a:gd name="connsiteX30" fmla="*/ 0 w 2640012"/>
                    <a:gd name="connsiteY30" fmla="*/ 998537 h 1106487"/>
                    <a:gd name="connsiteX0" fmla="*/ 2640012 w 2640012"/>
                    <a:gd name="connsiteY0" fmla="*/ 0 h 1106487"/>
                    <a:gd name="connsiteX1" fmla="*/ 2582862 w 2640012"/>
                    <a:gd name="connsiteY1" fmla="*/ 471487 h 1106487"/>
                    <a:gd name="connsiteX2" fmla="*/ 2504280 w 2640012"/>
                    <a:gd name="connsiteY2" fmla="*/ 557212 h 1106487"/>
                    <a:gd name="connsiteX3" fmla="*/ 2404268 w 2640012"/>
                    <a:gd name="connsiteY3" fmla="*/ 709612 h 1106487"/>
                    <a:gd name="connsiteX4" fmla="*/ 2349499 w 2640012"/>
                    <a:gd name="connsiteY4" fmla="*/ 769143 h 1106487"/>
                    <a:gd name="connsiteX5" fmla="*/ 2244725 w 2640012"/>
                    <a:gd name="connsiteY5" fmla="*/ 900112 h 1106487"/>
                    <a:gd name="connsiteX6" fmla="*/ 2114550 w 2640012"/>
                    <a:gd name="connsiteY6" fmla="*/ 960437 h 1106487"/>
                    <a:gd name="connsiteX7" fmla="*/ 2054225 w 2640012"/>
                    <a:gd name="connsiteY7" fmla="*/ 973137 h 1106487"/>
                    <a:gd name="connsiteX8" fmla="*/ 1984375 w 2640012"/>
                    <a:gd name="connsiteY8" fmla="*/ 1011237 h 1106487"/>
                    <a:gd name="connsiteX9" fmla="*/ 1962150 w 2640012"/>
                    <a:gd name="connsiteY9" fmla="*/ 1049337 h 1106487"/>
                    <a:gd name="connsiteX10" fmla="*/ 1914525 w 2640012"/>
                    <a:gd name="connsiteY10" fmla="*/ 1106487 h 1106487"/>
                    <a:gd name="connsiteX11" fmla="*/ 1774825 w 2640012"/>
                    <a:gd name="connsiteY11" fmla="*/ 1090612 h 1106487"/>
                    <a:gd name="connsiteX12" fmla="*/ 1736725 w 2640012"/>
                    <a:gd name="connsiteY12" fmla="*/ 1093787 h 1106487"/>
                    <a:gd name="connsiteX13" fmla="*/ 1593850 w 2640012"/>
                    <a:gd name="connsiteY13" fmla="*/ 1049337 h 1106487"/>
                    <a:gd name="connsiteX14" fmla="*/ 1543050 w 2640012"/>
                    <a:gd name="connsiteY14" fmla="*/ 1008062 h 1106487"/>
                    <a:gd name="connsiteX15" fmla="*/ 1457325 w 2640012"/>
                    <a:gd name="connsiteY15" fmla="*/ 992187 h 1106487"/>
                    <a:gd name="connsiteX16" fmla="*/ 1422400 w 2640012"/>
                    <a:gd name="connsiteY16" fmla="*/ 1008062 h 1106487"/>
                    <a:gd name="connsiteX17" fmla="*/ 1111250 w 2640012"/>
                    <a:gd name="connsiteY17" fmla="*/ 928687 h 1106487"/>
                    <a:gd name="connsiteX18" fmla="*/ 1031875 w 2640012"/>
                    <a:gd name="connsiteY18" fmla="*/ 935037 h 1106487"/>
                    <a:gd name="connsiteX19" fmla="*/ 987425 w 2640012"/>
                    <a:gd name="connsiteY19" fmla="*/ 941387 h 1106487"/>
                    <a:gd name="connsiteX20" fmla="*/ 946150 w 2640012"/>
                    <a:gd name="connsiteY20" fmla="*/ 925512 h 1106487"/>
                    <a:gd name="connsiteX21" fmla="*/ 828675 w 2640012"/>
                    <a:gd name="connsiteY21" fmla="*/ 938212 h 1106487"/>
                    <a:gd name="connsiteX22" fmla="*/ 765175 w 2640012"/>
                    <a:gd name="connsiteY22" fmla="*/ 925512 h 1106487"/>
                    <a:gd name="connsiteX23" fmla="*/ 606425 w 2640012"/>
                    <a:gd name="connsiteY23" fmla="*/ 944562 h 1106487"/>
                    <a:gd name="connsiteX24" fmla="*/ 488950 w 2640012"/>
                    <a:gd name="connsiteY24" fmla="*/ 979487 h 1106487"/>
                    <a:gd name="connsiteX25" fmla="*/ 469900 w 2640012"/>
                    <a:gd name="connsiteY25" fmla="*/ 1004887 h 1106487"/>
                    <a:gd name="connsiteX26" fmla="*/ 431800 w 2640012"/>
                    <a:gd name="connsiteY26" fmla="*/ 989012 h 1106487"/>
                    <a:gd name="connsiteX27" fmla="*/ 381000 w 2640012"/>
                    <a:gd name="connsiteY27" fmla="*/ 985837 h 1106487"/>
                    <a:gd name="connsiteX28" fmla="*/ 333375 w 2640012"/>
                    <a:gd name="connsiteY28" fmla="*/ 1004887 h 1106487"/>
                    <a:gd name="connsiteX29" fmla="*/ 292100 w 2640012"/>
                    <a:gd name="connsiteY29" fmla="*/ 989012 h 1106487"/>
                    <a:gd name="connsiteX30" fmla="*/ 149225 w 2640012"/>
                    <a:gd name="connsiteY30" fmla="*/ 989012 h 1106487"/>
                    <a:gd name="connsiteX31" fmla="*/ 0 w 2640012"/>
                    <a:gd name="connsiteY31" fmla="*/ 998537 h 1106487"/>
                    <a:gd name="connsiteX0" fmla="*/ 2640012 w 2640012"/>
                    <a:gd name="connsiteY0" fmla="*/ 0 h 1106487"/>
                    <a:gd name="connsiteX1" fmla="*/ 2573337 w 2640012"/>
                    <a:gd name="connsiteY1" fmla="*/ 431006 h 1106487"/>
                    <a:gd name="connsiteX2" fmla="*/ 2582862 w 2640012"/>
                    <a:gd name="connsiteY2" fmla="*/ 471487 h 1106487"/>
                    <a:gd name="connsiteX3" fmla="*/ 2504280 w 2640012"/>
                    <a:gd name="connsiteY3" fmla="*/ 557212 h 1106487"/>
                    <a:gd name="connsiteX4" fmla="*/ 2404268 w 2640012"/>
                    <a:gd name="connsiteY4" fmla="*/ 709612 h 1106487"/>
                    <a:gd name="connsiteX5" fmla="*/ 2349499 w 2640012"/>
                    <a:gd name="connsiteY5" fmla="*/ 769143 h 1106487"/>
                    <a:gd name="connsiteX6" fmla="*/ 2244725 w 2640012"/>
                    <a:gd name="connsiteY6" fmla="*/ 900112 h 1106487"/>
                    <a:gd name="connsiteX7" fmla="*/ 2114550 w 2640012"/>
                    <a:gd name="connsiteY7" fmla="*/ 960437 h 1106487"/>
                    <a:gd name="connsiteX8" fmla="*/ 2054225 w 2640012"/>
                    <a:gd name="connsiteY8" fmla="*/ 973137 h 1106487"/>
                    <a:gd name="connsiteX9" fmla="*/ 1984375 w 2640012"/>
                    <a:gd name="connsiteY9" fmla="*/ 1011237 h 1106487"/>
                    <a:gd name="connsiteX10" fmla="*/ 1962150 w 2640012"/>
                    <a:gd name="connsiteY10" fmla="*/ 1049337 h 1106487"/>
                    <a:gd name="connsiteX11" fmla="*/ 1914525 w 2640012"/>
                    <a:gd name="connsiteY11" fmla="*/ 1106487 h 1106487"/>
                    <a:gd name="connsiteX12" fmla="*/ 1774825 w 2640012"/>
                    <a:gd name="connsiteY12" fmla="*/ 1090612 h 1106487"/>
                    <a:gd name="connsiteX13" fmla="*/ 1736725 w 2640012"/>
                    <a:gd name="connsiteY13" fmla="*/ 1093787 h 1106487"/>
                    <a:gd name="connsiteX14" fmla="*/ 1593850 w 2640012"/>
                    <a:gd name="connsiteY14" fmla="*/ 1049337 h 1106487"/>
                    <a:gd name="connsiteX15" fmla="*/ 1543050 w 2640012"/>
                    <a:gd name="connsiteY15" fmla="*/ 1008062 h 1106487"/>
                    <a:gd name="connsiteX16" fmla="*/ 1457325 w 2640012"/>
                    <a:gd name="connsiteY16" fmla="*/ 992187 h 1106487"/>
                    <a:gd name="connsiteX17" fmla="*/ 1422400 w 2640012"/>
                    <a:gd name="connsiteY17" fmla="*/ 1008062 h 1106487"/>
                    <a:gd name="connsiteX18" fmla="*/ 1111250 w 2640012"/>
                    <a:gd name="connsiteY18" fmla="*/ 928687 h 1106487"/>
                    <a:gd name="connsiteX19" fmla="*/ 1031875 w 2640012"/>
                    <a:gd name="connsiteY19" fmla="*/ 935037 h 1106487"/>
                    <a:gd name="connsiteX20" fmla="*/ 987425 w 2640012"/>
                    <a:gd name="connsiteY20" fmla="*/ 941387 h 1106487"/>
                    <a:gd name="connsiteX21" fmla="*/ 946150 w 2640012"/>
                    <a:gd name="connsiteY21" fmla="*/ 925512 h 1106487"/>
                    <a:gd name="connsiteX22" fmla="*/ 828675 w 2640012"/>
                    <a:gd name="connsiteY22" fmla="*/ 938212 h 1106487"/>
                    <a:gd name="connsiteX23" fmla="*/ 765175 w 2640012"/>
                    <a:gd name="connsiteY23" fmla="*/ 925512 h 1106487"/>
                    <a:gd name="connsiteX24" fmla="*/ 606425 w 2640012"/>
                    <a:gd name="connsiteY24" fmla="*/ 944562 h 1106487"/>
                    <a:gd name="connsiteX25" fmla="*/ 488950 w 2640012"/>
                    <a:gd name="connsiteY25" fmla="*/ 979487 h 1106487"/>
                    <a:gd name="connsiteX26" fmla="*/ 469900 w 2640012"/>
                    <a:gd name="connsiteY26" fmla="*/ 1004887 h 1106487"/>
                    <a:gd name="connsiteX27" fmla="*/ 431800 w 2640012"/>
                    <a:gd name="connsiteY27" fmla="*/ 989012 h 1106487"/>
                    <a:gd name="connsiteX28" fmla="*/ 381000 w 2640012"/>
                    <a:gd name="connsiteY28" fmla="*/ 985837 h 1106487"/>
                    <a:gd name="connsiteX29" fmla="*/ 333375 w 2640012"/>
                    <a:gd name="connsiteY29" fmla="*/ 1004887 h 1106487"/>
                    <a:gd name="connsiteX30" fmla="*/ 292100 w 2640012"/>
                    <a:gd name="connsiteY30" fmla="*/ 989012 h 1106487"/>
                    <a:gd name="connsiteX31" fmla="*/ 149225 w 2640012"/>
                    <a:gd name="connsiteY31" fmla="*/ 989012 h 1106487"/>
                    <a:gd name="connsiteX32" fmla="*/ 0 w 2640012"/>
                    <a:gd name="connsiteY32" fmla="*/ 998537 h 1106487"/>
                    <a:gd name="connsiteX0" fmla="*/ 2640012 w 2640012"/>
                    <a:gd name="connsiteY0" fmla="*/ 0 h 1106487"/>
                    <a:gd name="connsiteX1" fmla="*/ 2575718 w 2640012"/>
                    <a:gd name="connsiteY1" fmla="*/ 321468 h 1106487"/>
                    <a:gd name="connsiteX2" fmla="*/ 2573337 w 2640012"/>
                    <a:gd name="connsiteY2" fmla="*/ 431006 h 1106487"/>
                    <a:gd name="connsiteX3" fmla="*/ 2582862 w 2640012"/>
                    <a:gd name="connsiteY3" fmla="*/ 471487 h 1106487"/>
                    <a:gd name="connsiteX4" fmla="*/ 2504280 w 2640012"/>
                    <a:gd name="connsiteY4" fmla="*/ 557212 h 1106487"/>
                    <a:gd name="connsiteX5" fmla="*/ 2404268 w 2640012"/>
                    <a:gd name="connsiteY5" fmla="*/ 709612 h 1106487"/>
                    <a:gd name="connsiteX6" fmla="*/ 2349499 w 2640012"/>
                    <a:gd name="connsiteY6" fmla="*/ 769143 h 1106487"/>
                    <a:gd name="connsiteX7" fmla="*/ 2244725 w 2640012"/>
                    <a:gd name="connsiteY7" fmla="*/ 900112 h 1106487"/>
                    <a:gd name="connsiteX8" fmla="*/ 2114550 w 2640012"/>
                    <a:gd name="connsiteY8" fmla="*/ 960437 h 1106487"/>
                    <a:gd name="connsiteX9" fmla="*/ 2054225 w 2640012"/>
                    <a:gd name="connsiteY9" fmla="*/ 973137 h 1106487"/>
                    <a:gd name="connsiteX10" fmla="*/ 1984375 w 2640012"/>
                    <a:gd name="connsiteY10" fmla="*/ 1011237 h 1106487"/>
                    <a:gd name="connsiteX11" fmla="*/ 1962150 w 2640012"/>
                    <a:gd name="connsiteY11" fmla="*/ 1049337 h 1106487"/>
                    <a:gd name="connsiteX12" fmla="*/ 1914525 w 2640012"/>
                    <a:gd name="connsiteY12" fmla="*/ 1106487 h 1106487"/>
                    <a:gd name="connsiteX13" fmla="*/ 1774825 w 2640012"/>
                    <a:gd name="connsiteY13" fmla="*/ 1090612 h 1106487"/>
                    <a:gd name="connsiteX14" fmla="*/ 1736725 w 2640012"/>
                    <a:gd name="connsiteY14" fmla="*/ 1093787 h 1106487"/>
                    <a:gd name="connsiteX15" fmla="*/ 1593850 w 2640012"/>
                    <a:gd name="connsiteY15" fmla="*/ 1049337 h 1106487"/>
                    <a:gd name="connsiteX16" fmla="*/ 1543050 w 2640012"/>
                    <a:gd name="connsiteY16" fmla="*/ 1008062 h 1106487"/>
                    <a:gd name="connsiteX17" fmla="*/ 1457325 w 2640012"/>
                    <a:gd name="connsiteY17" fmla="*/ 992187 h 1106487"/>
                    <a:gd name="connsiteX18" fmla="*/ 1422400 w 2640012"/>
                    <a:gd name="connsiteY18" fmla="*/ 1008062 h 1106487"/>
                    <a:gd name="connsiteX19" fmla="*/ 1111250 w 2640012"/>
                    <a:gd name="connsiteY19" fmla="*/ 928687 h 1106487"/>
                    <a:gd name="connsiteX20" fmla="*/ 1031875 w 2640012"/>
                    <a:gd name="connsiteY20" fmla="*/ 935037 h 1106487"/>
                    <a:gd name="connsiteX21" fmla="*/ 987425 w 2640012"/>
                    <a:gd name="connsiteY21" fmla="*/ 941387 h 1106487"/>
                    <a:gd name="connsiteX22" fmla="*/ 946150 w 2640012"/>
                    <a:gd name="connsiteY22" fmla="*/ 925512 h 1106487"/>
                    <a:gd name="connsiteX23" fmla="*/ 828675 w 2640012"/>
                    <a:gd name="connsiteY23" fmla="*/ 938212 h 1106487"/>
                    <a:gd name="connsiteX24" fmla="*/ 765175 w 2640012"/>
                    <a:gd name="connsiteY24" fmla="*/ 925512 h 1106487"/>
                    <a:gd name="connsiteX25" fmla="*/ 606425 w 2640012"/>
                    <a:gd name="connsiteY25" fmla="*/ 944562 h 1106487"/>
                    <a:gd name="connsiteX26" fmla="*/ 488950 w 2640012"/>
                    <a:gd name="connsiteY26" fmla="*/ 979487 h 1106487"/>
                    <a:gd name="connsiteX27" fmla="*/ 469900 w 2640012"/>
                    <a:gd name="connsiteY27" fmla="*/ 1004887 h 1106487"/>
                    <a:gd name="connsiteX28" fmla="*/ 431800 w 2640012"/>
                    <a:gd name="connsiteY28" fmla="*/ 989012 h 1106487"/>
                    <a:gd name="connsiteX29" fmla="*/ 381000 w 2640012"/>
                    <a:gd name="connsiteY29" fmla="*/ 985837 h 1106487"/>
                    <a:gd name="connsiteX30" fmla="*/ 333375 w 2640012"/>
                    <a:gd name="connsiteY30" fmla="*/ 1004887 h 1106487"/>
                    <a:gd name="connsiteX31" fmla="*/ 292100 w 2640012"/>
                    <a:gd name="connsiteY31" fmla="*/ 989012 h 1106487"/>
                    <a:gd name="connsiteX32" fmla="*/ 149225 w 2640012"/>
                    <a:gd name="connsiteY32" fmla="*/ 989012 h 1106487"/>
                    <a:gd name="connsiteX33" fmla="*/ 0 w 2640012"/>
                    <a:gd name="connsiteY33" fmla="*/ 998537 h 1106487"/>
                    <a:gd name="connsiteX0" fmla="*/ 2635249 w 2635249"/>
                    <a:gd name="connsiteY0" fmla="*/ 0 h 946944"/>
                    <a:gd name="connsiteX1" fmla="*/ 2575718 w 2635249"/>
                    <a:gd name="connsiteY1" fmla="*/ 161925 h 946944"/>
                    <a:gd name="connsiteX2" fmla="*/ 2573337 w 2635249"/>
                    <a:gd name="connsiteY2" fmla="*/ 271463 h 946944"/>
                    <a:gd name="connsiteX3" fmla="*/ 2582862 w 2635249"/>
                    <a:gd name="connsiteY3" fmla="*/ 311944 h 946944"/>
                    <a:gd name="connsiteX4" fmla="*/ 2504280 w 2635249"/>
                    <a:gd name="connsiteY4" fmla="*/ 397669 h 946944"/>
                    <a:gd name="connsiteX5" fmla="*/ 2404268 w 2635249"/>
                    <a:gd name="connsiteY5" fmla="*/ 550069 h 946944"/>
                    <a:gd name="connsiteX6" fmla="*/ 2349499 w 2635249"/>
                    <a:gd name="connsiteY6" fmla="*/ 609600 h 946944"/>
                    <a:gd name="connsiteX7" fmla="*/ 2244725 w 2635249"/>
                    <a:gd name="connsiteY7" fmla="*/ 740569 h 946944"/>
                    <a:gd name="connsiteX8" fmla="*/ 2114550 w 2635249"/>
                    <a:gd name="connsiteY8" fmla="*/ 800894 h 946944"/>
                    <a:gd name="connsiteX9" fmla="*/ 2054225 w 2635249"/>
                    <a:gd name="connsiteY9" fmla="*/ 813594 h 946944"/>
                    <a:gd name="connsiteX10" fmla="*/ 1984375 w 2635249"/>
                    <a:gd name="connsiteY10" fmla="*/ 851694 h 946944"/>
                    <a:gd name="connsiteX11" fmla="*/ 1962150 w 2635249"/>
                    <a:gd name="connsiteY11" fmla="*/ 889794 h 946944"/>
                    <a:gd name="connsiteX12" fmla="*/ 1914525 w 2635249"/>
                    <a:gd name="connsiteY12" fmla="*/ 946944 h 946944"/>
                    <a:gd name="connsiteX13" fmla="*/ 1774825 w 2635249"/>
                    <a:gd name="connsiteY13" fmla="*/ 931069 h 946944"/>
                    <a:gd name="connsiteX14" fmla="*/ 1736725 w 2635249"/>
                    <a:gd name="connsiteY14" fmla="*/ 934244 h 946944"/>
                    <a:gd name="connsiteX15" fmla="*/ 1593850 w 2635249"/>
                    <a:gd name="connsiteY15" fmla="*/ 889794 h 946944"/>
                    <a:gd name="connsiteX16" fmla="*/ 1543050 w 2635249"/>
                    <a:gd name="connsiteY16" fmla="*/ 848519 h 946944"/>
                    <a:gd name="connsiteX17" fmla="*/ 1457325 w 2635249"/>
                    <a:gd name="connsiteY17" fmla="*/ 832644 h 946944"/>
                    <a:gd name="connsiteX18" fmla="*/ 1422400 w 2635249"/>
                    <a:gd name="connsiteY18" fmla="*/ 848519 h 946944"/>
                    <a:gd name="connsiteX19" fmla="*/ 1111250 w 2635249"/>
                    <a:gd name="connsiteY19" fmla="*/ 769144 h 946944"/>
                    <a:gd name="connsiteX20" fmla="*/ 1031875 w 2635249"/>
                    <a:gd name="connsiteY20" fmla="*/ 775494 h 946944"/>
                    <a:gd name="connsiteX21" fmla="*/ 987425 w 2635249"/>
                    <a:gd name="connsiteY21" fmla="*/ 781844 h 946944"/>
                    <a:gd name="connsiteX22" fmla="*/ 946150 w 2635249"/>
                    <a:gd name="connsiteY22" fmla="*/ 765969 h 946944"/>
                    <a:gd name="connsiteX23" fmla="*/ 828675 w 2635249"/>
                    <a:gd name="connsiteY23" fmla="*/ 778669 h 946944"/>
                    <a:gd name="connsiteX24" fmla="*/ 765175 w 2635249"/>
                    <a:gd name="connsiteY24" fmla="*/ 765969 h 946944"/>
                    <a:gd name="connsiteX25" fmla="*/ 606425 w 2635249"/>
                    <a:gd name="connsiteY25" fmla="*/ 785019 h 946944"/>
                    <a:gd name="connsiteX26" fmla="*/ 488950 w 2635249"/>
                    <a:gd name="connsiteY26" fmla="*/ 819944 h 946944"/>
                    <a:gd name="connsiteX27" fmla="*/ 469900 w 2635249"/>
                    <a:gd name="connsiteY27" fmla="*/ 845344 h 946944"/>
                    <a:gd name="connsiteX28" fmla="*/ 431800 w 2635249"/>
                    <a:gd name="connsiteY28" fmla="*/ 829469 h 946944"/>
                    <a:gd name="connsiteX29" fmla="*/ 381000 w 2635249"/>
                    <a:gd name="connsiteY29" fmla="*/ 826294 h 946944"/>
                    <a:gd name="connsiteX30" fmla="*/ 333375 w 2635249"/>
                    <a:gd name="connsiteY30" fmla="*/ 845344 h 946944"/>
                    <a:gd name="connsiteX31" fmla="*/ 292100 w 2635249"/>
                    <a:gd name="connsiteY31" fmla="*/ 829469 h 946944"/>
                    <a:gd name="connsiteX32" fmla="*/ 149225 w 2635249"/>
                    <a:gd name="connsiteY32" fmla="*/ 829469 h 946944"/>
                    <a:gd name="connsiteX33" fmla="*/ 0 w 2635249"/>
                    <a:gd name="connsiteY33" fmla="*/ 838994 h 946944"/>
                    <a:gd name="connsiteX0" fmla="*/ 2618581 w 2618581"/>
                    <a:gd name="connsiteY0" fmla="*/ 0 h 920750"/>
                    <a:gd name="connsiteX1" fmla="*/ 2575718 w 2618581"/>
                    <a:gd name="connsiteY1" fmla="*/ 135731 h 920750"/>
                    <a:gd name="connsiteX2" fmla="*/ 2573337 w 2618581"/>
                    <a:gd name="connsiteY2" fmla="*/ 245269 h 920750"/>
                    <a:gd name="connsiteX3" fmla="*/ 2582862 w 2618581"/>
                    <a:gd name="connsiteY3" fmla="*/ 285750 h 920750"/>
                    <a:gd name="connsiteX4" fmla="*/ 2504280 w 2618581"/>
                    <a:gd name="connsiteY4" fmla="*/ 371475 h 920750"/>
                    <a:gd name="connsiteX5" fmla="*/ 2404268 w 2618581"/>
                    <a:gd name="connsiteY5" fmla="*/ 523875 h 920750"/>
                    <a:gd name="connsiteX6" fmla="*/ 2349499 w 2618581"/>
                    <a:gd name="connsiteY6" fmla="*/ 583406 h 920750"/>
                    <a:gd name="connsiteX7" fmla="*/ 2244725 w 2618581"/>
                    <a:gd name="connsiteY7" fmla="*/ 714375 h 920750"/>
                    <a:gd name="connsiteX8" fmla="*/ 2114550 w 2618581"/>
                    <a:gd name="connsiteY8" fmla="*/ 774700 h 920750"/>
                    <a:gd name="connsiteX9" fmla="*/ 2054225 w 2618581"/>
                    <a:gd name="connsiteY9" fmla="*/ 787400 h 920750"/>
                    <a:gd name="connsiteX10" fmla="*/ 1984375 w 2618581"/>
                    <a:gd name="connsiteY10" fmla="*/ 825500 h 920750"/>
                    <a:gd name="connsiteX11" fmla="*/ 1962150 w 2618581"/>
                    <a:gd name="connsiteY11" fmla="*/ 863600 h 920750"/>
                    <a:gd name="connsiteX12" fmla="*/ 1914525 w 2618581"/>
                    <a:gd name="connsiteY12" fmla="*/ 920750 h 920750"/>
                    <a:gd name="connsiteX13" fmla="*/ 1774825 w 2618581"/>
                    <a:gd name="connsiteY13" fmla="*/ 904875 h 920750"/>
                    <a:gd name="connsiteX14" fmla="*/ 1736725 w 2618581"/>
                    <a:gd name="connsiteY14" fmla="*/ 908050 h 920750"/>
                    <a:gd name="connsiteX15" fmla="*/ 1593850 w 2618581"/>
                    <a:gd name="connsiteY15" fmla="*/ 863600 h 920750"/>
                    <a:gd name="connsiteX16" fmla="*/ 1543050 w 2618581"/>
                    <a:gd name="connsiteY16" fmla="*/ 822325 h 920750"/>
                    <a:gd name="connsiteX17" fmla="*/ 1457325 w 2618581"/>
                    <a:gd name="connsiteY17" fmla="*/ 806450 h 920750"/>
                    <a:gd name="connsiteX18" fmla="*/ 1422400 w 2618581"/>
                    <a:gd name="connsiteY18" fmla="*/ 822325 h 920750"/>
                    <a:gd name="connsiteX19" fmla="*/ 1111250 w 2618581"/>
                    <a:gd name="connsiteY19" fmla="*/ 742950 h 920750"/>
                    <a:gd name="connsiteX20" fmla="*/ 1031875 w 2618581"/>
                    <a:gd name="connsiteY20" fmla="*/ 749300 h 920750"/>
                    <a:gd name="connsiteX21" fmla="*/ 987425 w 2618581"/>
                    <a:gd name="connsiteY21" fmla="*/ 755650 h 920750"/>
                    <a:gd name="connsiteX22" fmla="*/ 946150 w 2618581"/>
                    <a:gd name="connsiteY22" fmla="*/ 739775 h 920750"/>
                    <a:gd name="connsiteX23" fmla="*/ 828675 w 2618581"/>
                    <a:gd name="connsiteY23" fmla="*/ 752475 h 920750"/>
                    <a:gd name="connsiteX24" fmla="*/ 765175 w 2618581"/>
                    <a:gd name="connsiteY24" fmla="*/ 739775 h 920750"/>
                    <a:gd name="connsiteX25" fmla="*/ 606425 w 2618581"/>
                    <a:gd name="connsiteY25" fmla="*/ 758825 h 920750"/>
                    <a:gd name="connsiteX26" fmla="*/ 488950 w 2618581"/>
                    <a:gd name="connsiteY26" fmla="*/ 793750 h 920750"/>
                    <a:gd name="connsiteX27" fmla="*/ 469900 w 2618581"/>
                    <a:gd name="connsiteY27" fmla="*/ 819150 h 920750"/>
                    <a:gd name="connsiteX28" fmla="*/ 431800 w 2618581"/>
                    <a:gd name="connsiteY28" fmla="*/ 803275 h 920750"/>
                    <a:gd name="connsiteX29" fmla="*/ 381000 w 2618581"/>
                    <a:gd name="connsiteY29" fmla="*/ 800100 h 920750"/>
                    <a:gd name="connsiteX30" fmla="*/ 333375 w 2618581"/>
                    <a:gd name="connsiteY30" fmla="*/ 819150 h 920750"/>
                    <a:gd name="connsiteX31" fmla="*/ 292100 w 2618581"/>
                    <a:gd name="connsiteY31" fmla="*/ 803275 h 920750"/>
                    <a:gd name="connsiteX32" fmla="*/ 149225 w 2618581"/>
                    <a:gd name="connsiteY32" fmla="*/ 803275 h 920750"/>
                    <a:gd name="connsiteX33" fmla="*/ 0 w 2618581"/>
                    <a:gd name="connsiteY33" fmla="*/ 812800 h 920750"/>
                    <a:gd name="connsiteX0" fmla="*/ 2618581 w 2623685"/>
                    <a:gd name="connsiteY0" fmla="*/ 10054 h 930804"/>
                    <a:gd name="connsiteX1" fmla="*/ 2620963 w 2623685"/>
                    <a:gd name="connsiteY1" fmla="*/ 10053 h 930804"/>
                    <a:gd name="connsiteX2" fmla="*/ 2575718 w 2623685"/>
                    <a:gd name="connsiteY2" fmla="*/ 145785 h 930804"/>
                    <a:gd name="connsiteX3" fmla="*/ 2573337 w 2623685"/>
                    <a:gd name="connsiteY3" fmla="*/ 255323 h 930804"/>
                    <a:gd name="connsiteX4" fmla="*/ 2582862 w 2623685"/>
                    <a:gd name="connsiteY4" fmla="*/ 295804 h 930804"/>
                    <a:gd name="connsiteX5" fmla="*/ 2504280 w 2623685"/>
                    <a:gd name="connsiteY5" fmla="*/ 381529 h 930804"/>
                    <a:gd name="connsiteX6" fmla="*/ 2404268 w 2623685"/>
                    <a:gd name="connsiteY6" fmla="*/ 533929 h 930804"/>
                    <a:gd name="connsiteX7" fmla="*/ 2349499 w 2623685"/>
                    <a:gd name="connsiteY7" fmla="*/ 593460 h 930804"/>
                    <a:gd name="connsiteX8" fmla="*/ 2244725 w 2623685"/>
                    <a:gd name="connsiteY8" fmla="*/ 724429 h 930804"/>
                    <a:gd name="connsiteX9" fmla="*/ 2114550 w 2623685"/>
                    <a:gd name="connsiteY9" fmla="*/ 784754 h 930804"/>
                    <a:gd name="connsiteX10" fmla="*/ 2054225 w 2623685"/>
                    <a:gd name="connsiteY10" fmla="*/ 797454 h 930804"/>
                    <a:gd name="connsiteX11" fmla="*/ 1984375 w 2623685"/>
                    <a:gd name="connsiteY11" fmla="*/ 835554 h 930804"/>
                    <a:gd name="connsiteX12" fmla="*/ 1962150 w 2623685"/>
                    <a:gd name="connsiteY12" fmla="*/ 873654 h 930804"/>
                    <a:gd name="connsiteX13" fmla="*/ 1914525 w 2623685"/>
                    <a:gd name="connsiteY13" fmla="*/ 930804 h 930804"/>
                    <a:gd name="connsiteX14" fmla="*/ 1774825 w 2623685"/>
                    <a:gd name="connsiteY14" fmla="*/ 914929 h 930804"/>
                    <a:gd name="connsiteX15" fmla="*/ 1736725 w 2623685"/>
                    <a:gd name="connsiteY15" fmla="*/ 918104 h 930804"/>
                    <a:gd name="connsiteX16" fmla="*/ 1593850 w 2623685"/>
                    <a:gd name="connsiteY16" fmla="*/ 873654 h 930804"/>
                    <a:gd name="connsiteX17" fmla="*/ 1543050 w 2623685"/>
                    <a:gd name="connsiteY17" fmla="*/ 832379 h 930804"/>
                    <a:gd name="connsiteX18" fmla="*/ 1457325 w 2623685"/>
                    <a:gd name="connsiteY18" fmla="*/ 816504 h 930804"/>
                    <a:gd name="connsiteX19" fmla="*/ 1422400 w 2623685"/>
                    <a:gd name="connsiteY19" fmla="*/ 832379 h 930804"/>
                    <a:gd name="connsiteX20" fmla="*/ 1111250 w 2623685"/>
                    <a:gd name="connsiteY20" fmla="*/ 753004 h 930804"/>
                    <a:gd name="connsiteX21" fmla="*/ 1031875 w 2623685"/>
                    <a:gd name="connsiteY21" fmla="*/ 759354 h 930804"/>
                    <a:gd name="connsiteX22" fmla="*/ 987425 w 2623685"/>
                    <a:gd name="connsiteY22" fmla="*/ 765704 h 930804"/>
                    <a:gd name="connsiteX23" fmla="*/ 946150 w 2623685"/>
                    <a:gd name="connsiteY23" fmla="*/ 749829 h 930804"/>
                    <a:gd name="connsiteX24" fmla="*/ 828675 w 2623685"/>
                    <a:gd name="connsiteY24" fmla="*/ 762529 h 930804"/>
                    <a:gd name="connsiteX25" fmla="*/ 765175 w 2623685"/>
                    <a:gd name="connsiteY25" fmla="*/ 749829 h 930804"/>
                    <a:gd name="connsiteX26" fmla="*/ 606425 w 2623685"/>
                    <a:gd name="connsiteY26" fmla="*/ 768879 h 930804"/>
                    <a:gd name="connsiteX27" fmla="*/ 488950 w 2623685"/>
                    <a:gd name="connsiteY27" fmla="*/ 803804 h 930804"/>
                    <a:gd name="connsiteX28" fmla="*/ 469900 w 2623685"/>
                    <a:gd name="connsiteY28" fmla="*/ 829204 h 930804"/>
                    <a:gd name="connsiteX29" fmla="*/ 431800 w 2623685"/>
                    <a:gd name="connsiteY29" fmla="*/ 813329 h 930804"/>
                    <a:gd name="connsiteX30" fmla="*/ 381000 w 2623685"/>
                    <a:gd name="connsiteY30" fmla="*/ 810154 h 930804"/>
                    <a:gd name="connsiteX31" fmla="*/ 333375 w 2623685"/>
                    <a:gd name="connsiteY31" fmla="*/ 829204 h 930804"/>
                    <a:gd name="connsiteX32" fmla="*/ 292100 w 2623685"/>
                    <a:gd name="connsiteY32" fmla="*/ 813329 h 930804"/>
                    <a:gd name="connsiteX33" fmla="*/ 149225 w 2623685"/>
                    <a:gd name="connsiteY33" fmla="*/ 813329 h 930804"/>
                    <a:gd name="connsiteX34" fmla="*/ 0 w 2623685"/>
                    <a:gd name="connsiteY34" fmla="*/ 822854 h 930804"/>
                    <a:gd name="connsiteX0" fmla="*/ 2618581 w 2623685"/>
                    <a:gd name="connsiteY0" fmla="*/ 43150 h 963900"/>
                    <a:gd name="connsiteX1" fmla="*/ 2620963 w 2623685"/>
                    <a:gd name="connsiteY1" fmla="*/ 5049 h 963900"/>
                    <a:gd name="connsiteX2" fmla="*/ 2575718 w 2623685"/>
                    <a:gd name="connsiteY2" fmla="*/ 178881 h 963900"/>
                    <a:gd name="connsiteX3" fmla="*/ 2573337 w 2623685"/>
                    <a:gd name="connsiteY3" fmla="*/ 288419 h 963900"/>
                    <a:gd name="connsiteX4" fmla="*/ 2582862 w 2623685"/>
                    <a:gd name="connsiteY4" fmla="*/ 328900 h 963900"/>
                    <a:gd name="connsiteX5" fmla="*/ 2504280 w 2623685"/>
                    <a:gd name="connsiteY5" fmla="*/ 414625 h 963900"/>
                    <a:gd name="connsiteX6" fmla="*/ 2404268 w 2623685"/>
                    <a:gd name="connsiteY6" fmla="*/ 567025 h 963900"/>
                    <a:gd name="connsiteX7" fmla="*/ 2349499 w 2623685"/>
                    <a:gd name="connsiteY7" fmla="*/ 626556 h 963900"/>
                    <a:gd name="connsiteX8" fmla="*/ 2244725 w 2623685"/>
                    <a:gd name="connsiteY8" fmla="*/ 757525 h 963900"/>
                    <a:gd name="connsiteX9" fmla="*/ 2114550 w 2623685"/>
                    <a:gd name="connsiteY9" fmla="*/ 817850 h 963900"/>
                    <a:gd name="connsiteX10" fmla="*/ 2054225 w 2623685"/>
                    <a:gd name="connsiteY10" fmla="*/ 830550 h 963900"/>
                    <a:gd name="connsiteX11" fmla="*/ 1984375 w 2623685"/>
                    <a:gd name="connsiteY11" fmla="*/ 868650 h 963900"/>
                    <a:gd name="connsiteX12" fmla="*/ 1962150 w 2623685"/>
                    <a:gd name="connsiteY12" fmla="*/ 906750 h 963900"/>
                    <a:gd name="connsiteX13" fmla="*/ 1914525 w 2623685"/>
                    <a:gd name="connsiteY13" fmla="*/ 963900 h 963900"/>
                    <a:gd name="connsiteX14" fmla="*/ 1774825 w 2623685"/>
                    <a:gd name="connsiteY14" fmla="*/ 948025 h 963900"/>
                    <a:gd name="connsiteX15" fmla="*/ 1736725 w 2623685"/>
                    <a:gd name="connsiteY15" fmla="*/ 951200 h 963900"/>
                    <a:gd name="connsiteX16" fmla="*/ 1593850 w 2623685"/>
                    <a:gd name="connsiteY16" fmla="*/ 906750 h 963900"/>
                    <a:gd name="connsiteX17" fmla="*/ 1543050 w 2623685"/>
                    <a:gd name="connsiteY17" fmla="*/ 865475 h 963900"/>
                    <a:gd name="connsiteX18" fmla="*/ 1457325 w 2623685"/>
                    <a:gd name="connsiteY18" fmla="*/ 849600 h 963900"/>
                    <a:gd name="connsiteX19" fmla="*/ 1422400 w 2623685"/>
                    <a:gd name="connsiteY19" fmla="*/ 865475 h 963900"/>
                    <a:gd name="connsiteX20" fmla="*/ 1111250 w 2623685"/>
                    <a:gd name="connsiteY20" fmla="*/ 786100 h 963900"/>
                    <a:gd name="connsiteX21" fmla="*/ 1031875 w 2623685"/>
                    <a:gd name="connsiteY21" fmla="*/ 792450 h 963900"/>
                    <a:gd name="connsiteX22" fmla="*/ 987425 w 2623685"/>
                    <a:gd name="connsiteY22" fmla="*/ 798800 h 963900"/>
                    <a:gd name="connsiteX23" fmla="*/ 946150 w 2623685"/>
                    <a:gd name="connsiteY23" fmla="*/ 782925 h 963900"/>
                    <a:gd name="connsiteX24" fmla="*/ 828675 w 2623685"/>
                    <a:gd name="connsiteY24" fmla="*/ 795625 h 963900"/>
                    <a:gd name="connsiteX25" fmla="*/ 765175 w 2623685"/>
                    <a:gd name="connsiteY25" fmla="*/ 782925 h 963900"/>
                    <a:gd name="connsiteX26" fmla="*/ 606425 w 2623685"/>
                    <a:gd name="connsiteY26" fmla="*/ 801975 h 963900"/>
                    <a:gd name="connsiteX27" fmla="*/ 488950 w 2623685"/>
                    <a:gd name="connsiteY27" fmla="*/ 836900 h 963900"/>
                    <a:gd name="connsiteX28" fmla="*/ 469900 w 2623685"/>
                    <a:gd name="connsiteY28" fmla="*/ 862300 h 963900"/>
                    <a:gd name="connsiteX29" fmla="*/ 431800 w 2623685"/>
                    <a:gd name="connsiteY29" fmla="*/ 846425 h 963900"/>
                    <a:gd name="connsiteX30" fmla="*/ 381000 w 2623685"/>
                    <a:gd name="connsiteY30" fmla="*/ 843250 h 963900"/>
                    <a:gd name="connsiteX31" fmla="*/ 333375 w 2623685"/>
                    <a:gd name="connsiteY31" fmla="*/ 862300 h 963900"/>
                    <a:gd name="connsiteX32" fmla="*/ 292100 w 2623685"/>
                    <a:gd name="connsiteY32" fmla="*/ 846425 h 963900"/>
                    <a:gd name="connsiteX33" fmla="*/ 149225 w 2623685"/>
                    <a:gd name="connsiteY33" fmla="*/ 846425 h 963900"/>
                    <a:gd name="connsiteX34" fmla="*/ 0 w 2623685"/>
                    <a:gd name="connsiteY34" fmla="*/ 855950 h 963900"/>
                    <a:gd name="connsiteX0" fmla="*/ 2618581 w 2643475"/>
                    <a:gd name="connsiteY0" fmla="*/ 112142 h 1032892"/>
                    <a:gd name="connsiteX1" fmla="*/ 2642394 w 2643475"/>
                    <a:gd name="connsiteY1" fmla="*/ 2604 h 1032892"/>
                    <a:gd name="connsiteX2" fmla="*/ 2575718 w 2643475"/>
                    <a:gd name="connsiteY2" fmla="*/ 247873 h 1032892"/>
                    <a:gd name="connsiteX3" fmla="*/ 2573337 w 2643475"/>
                    <a:gd name="connsiteY3" fmla="*/ 357411 h 1032892"/>
                    <a:gd name="connsiteX4" fmla="*/ 2582862 w 2643475"/>
                    <a:gd name="connsiteY4" fmla="*/ 397892 h 1032892"/>
                    <a:gd name="connsiteX5" fmla="*/ 2504280 w 2643475"/>
                    <a:gd name="connsiteY5" fmla="*/ 483617 h 1032892"/>
                    <a:gd name="connsiteX6" fmla="*/ 2404268 w 2643475"/>
                    <a:gd name="connsiteY6" fmla="*/ 636017 h 1032892"/>
                    <a:gd name="connsiteX7" fmla="*/ 2349499 w 2643475"/>
                    <a:gd name="connsiteY7" fmla="*/ 695548 h 1032892"/>
                    <a:gd name="connsiteX8" fmla="*/ 2244725 w 2643475"/>
                    <a:gd name="connsiteY8" fmla="*/ 826517 h 1032892"/>
                    <a:gd name="connsiteX9" fmla="*/ 2114550 w 2643475"/>
                    <a:gd name="connsiteY9" fmla="*/ 886842 h 1032892"/>
                    <a:gd name="connsiteX10" fmla="*/ 2054225 w 2643475"/>
                    <a:gd name="connsiteY10" fmla="*/ 899542 h 1032892"/>
                    <a:gd name="connsiteX11" fmla="*/ 1984375 w 2643475"/>
                    <a:gd name="connsiteY11" fmla="*/ 937642 h 1032892"/>
                    <a:gd name="connsiteX12" fmla="*/ 1962150 w 2643475"/>
                    <a:gd name="connsiteY12" fmla="*/ 975742 h 1032892"/>
                    <a:gd name="connsiteX13" fmla="*/ 1914525 w 2643475"/>
                    <a:gd name="connsiteY13" fmla="*/ 1032892 h 1032892"/>
                    <a:gd name="connsiteX14" fmla="*/ 1774825 w 2643475"/>
                    <a:gd name="connsiteY14" fmla="*/ 1017017 h 1032892"/>
                    <a:gd name="connsiteX15" fmla="*/ 1736725 w 2643475"/>
                    <a:gd name="connsiteY15" fmla="*/ 1020192 h 1032892"/>
                    <a:gd name="connsiteX16" fmla="*/ 1593850 w 2643475"/>
                    <a:gd name="connsiteY16" fmla="*/ 975742 h 1032892"/>
                    <a:gd name="connsiteX17" fmla="*/ 1543050 w 2643475"/>
                    <a:gd name="connsiteY17" fmla="*/ 934467 h 1032892"/>
                    <a:gd name="connsiteX18" fmla="*/ 1457325 w 2643475"/>
                    <a:gd name="connsiteY18" fmla="*/ 918592 h 1032892"/>
                    <a:gd name="connsiteX19" fmla="*/ 1422400 w 2643475"/>
                    <a:gd name="connsiteY19" fmla="*/ 934467 h 1032892"/>
                    <a:gd name="connsiteX20" fmla="*/ 1111250 w 2643475"/>
                    <a:gd name="connsiteY20" fmla="*/ 855092 h 1032892"/>
                    <a:gd name="connsiteX21" fmla="*/ 1031875 w 2643475"/>
                    <a:gd name="connsiteY21" fmla="*/ 861442 h 1032892"/>
                    <a:gd name="connsiteX22" fmla="*/ 987425 w 2643475"/>
                    <a:gd name="connsiteY22" fmla="*/ 867792 h 1032892"/>
                    <a:gd name="connsiteX23" fmla="*/ 946150 w 2643475"/>
                    <a:gd name="connsiteY23" fmla="*/ 851917 h 1032892"/>
                    <a:gd name="connsiteX24" fmla="*/ 828675 w 2643475"/>
                    <a:gd name="connsiteY24" fmla="*/ 864617 h 1032892"/>
                    <a:gd name="connsiteX25" fmla="*/ 765175 w 2643475"/>
                    <a:gd name="connsiteY25" fmla="*/ 851917 h 1032892"/>
                    <a:gd name="connsiteX26" fmla="*/ 606425 w 2643475"/>
                    <a:gd name="connsiteY26" fmla="*/ 870967 h 1032892"/>
                    <a:gd name="connsiteX27" fmla="*/ 488950 w 2643475"/>
                    <a:gd name="connsiteY27" fmla="*/ 905892 h 1032892"/>
                    <a:gd name="connsiteX28" fmla="*/ 469900 w 2643475"/>
                    <a:gd name="connsiteY28" fmla="*/ 931292 h 1032892"/>
                    <a:gd name="connsiteX29" fmla="*/ 431800 w 2643475"/>
                    <a:gd name="connsiteY29" fmla="*/ 915417 h 1032892"/>
                    <a:gd name="connsiteX30" fmla="*/ 381000 w 2643475"/>
                    <a:gd name="connsiteY30" fmla="*/ 912242 h 1032892"/>
                    <a:gd name="connsiteX31" fmla="*/ 333375 w 2643475"/>
                    <a:gd name="connsiteY31" fmla="*/ 931292 h 1032892"/>
                    <a:gd name="connsiteX32" fmla="*/ 292100 w 2643475"/>
                    <a:gd name="connsiteY32" fmla="*/ 915417 h 1032892"/>
                    <a:gd name="connsiteX33" fmla="*/ 149225 w 2643475"/>
                    <a:gd name="connsiteY33" fmla="*/ 915417 h 1032892"/>
                    <a:gd name="connsiteX34" fmla="*/ 0 w 2643475"/>
                    <a:gd name="connsiteY34" fmla="*/ 924942 h 1032892"/>
                    <a:gd name="connsiteX0" fmla="*/ 2618581 w 2644482"/>
                    <a:gd name="connsiteY0" fmla="*/ 112142 h 1032892"/>
                    <a:gd name="connsiteX1" fmla="*/ 2642394 w 2644482"/>
                    <a:gd name="connsiteY1" fmla="*/ 2604 h 1032892"/>
                    <a:gd name="connsiteX2" fmla="*/ 2637631 w 2644482"/>
                    <a:gd name="connsiteY2" fmla="*/ 59754 h 1032892"/>
                    <a:gd name="connsiteX3" fmla="*/ 2575718 w 2644482"/>
                    <a:gd name="connsiteY3" fmla="*/ 247873 h 1032892"/>
                    <a:gd name="connsiteX4" fmla="*/ 2573337 w 2644482"/>
                    <a:gd name="connsiteY4" fmla="*/ 357411 h 1032892"/>
                    <a:gd name="connsiteX5" fmla="*/ 2582862 w 2644482"/>
                    <a:gd name="connsiteY5" fmla="*/ 397892 h 1032892"/>
                    <a:gd name="connsiteX6" fmla="*/ 2504280 w 2644482"/>
                    <a:gd name="connsiteY6" fmla="*/ 483617 h 1032892"/>
                    <a:gd name="connsiteX7" fmla="*/ 2404268 w 2644482"/>
                    <a:gd name="connsiteY7" fmla="*/ 636017 h 1032892"/>
                    <a:gd name="connsiteX8" fmla="*/ 2349499 w 2644482"/>
                    <a:gd name="connsiteY8" fmla="*/ 695548 h 1032892"/>
                    <a:gd name="connsiteX9" fmla="*/ 2244725 w 2644482"/>
                    <a:gd name="connsiteY9" fmla="*/ 826517 h 1032892"/>
                    <a:gd name="connsiteX10" fmla="*/ 2114550 w 2644482"/>
                    <a:gd name="connsiteY10" fmla="*/ 886842 h 1032892"/>
                    <a:gd name="connsiteX11" fmla="*/ 2054225 w 2644482"/>
                    <a:gd name="connsiteY11" fmla="*/ 899542 h 1032892"/>
                    <a:gd name="connsiteX12" fmla="*/ 1984375 w 2644482"/>
                    <a:gd name="connsiteY12" fmla="*/ 937642 h 1032892"/>
                    <a:gd name="connsiteX13" fmla="*/ 1962150 w 2644482"/>
                    <a:gd name="connsiteY13" fmla="*/ 975742 h 1032892"/>
                    <a:gd name="connsiteX14" fmla="*/ 1914525 w 2644482"/>
                    <a:gd name="connsiteY14" fmla="*/ 1032892 h 1032892"/>
                    <a:gd name="connsiteX15" fmla="*/ 1774825 w 2644482"/>
                    <a:gd name="connsiteY15" fmla="*/ 1017017 h 1032892"/>
                    <a:gd name="connsiteX16" fmla="*/ 1736725 w 2644482"/>
                    <a:gd name="connsiteY16" fmla="*/ 1020192 h 1032892"/>
                    <a:gd name="connsiteX17" fmla="*/ 1593850 w 2644482"/>
                    <a:gd name="connsiteY17" fmla="*/ 975742 h 1032892"/>
                    <a:gd name="connsiteX18" fmla="*/ 1543050 w 2644482"/>
                    <a:gd name="connsiteY18" fmla="*/ 934467 h 1032892"/>
                    <a:gd name="connsiteX19" fmla="*/ 1457325 w 2644482"/>
                    <a:gd name="connsiteY19" fmla="*/ 918592 h 1032892"/>
                    <a:gd name="connsiteX20" fmla="*/ 1422400 w 2644482"/>
                    <a:gd name="connsiteY20" fmla="*/ 934467 h 1032892"/>
                    <a:gd name="connsiteX21" fmla="*/ 1111250 w 2644482"/>
                    <a:gd name="connsiteY21" fmla="*/ 855092 h 1032892"/>
                    <a:gd name="connsiteX22" fmla="*/ 1031875 w 2644482"/>
                    <a:gd name="connsiteY22" fmla="*/ 861442 h 1032892"/>
                    <a:gd name="connsiteX23" fmla="*/ 987425 w 2644482"/>
                    <a:gd name="connsiteY23" fmla="*/ 867792 h 1032892"/>
                    <a:gd name="connsiteX24" fmla="*/ 946150 w 2644482"/>
                    <a:gd name="connsiteY24" fmla="*/ 851917 h 1032892"/>
                    <a:gd name="connsiteX25" fmla="*/ 828675 w 2644482"/>
                    <a:gd name="connsiteY25" fmla="*/ 864617 h 1032892"/>
                    <a:gd name="connsiteX26" fmla="*/ 765175 w 2644482"/>
                    <a:gd name="connsiteY26" fmla="*/ 851917 h 1032892"/>
                    <a:gd name="connsiteX27" fmla="*/ 606425 w 2644482"/>
                    <a:gd name="connsiteY27" fmla="*/ 870967 h 1032892"/>
                    <a:gd name="connsiteX28" fmla="*/ 488950 w 2644482"/>
                    <a:gd name="connsiteY28" fmla="*/ 905892 h 1032892"/>
                    <a:gd name="connsiteX29" fmla="*/ 469900 w 2644482"/>
                    <a:gd name="connsiteY29" fmla="*/ 931292 h 1032892"/>
                    <a:gd name="connsiteX30" fmla="*/ 431800 w 2644482"/>
                    <a:gd name="connsiteY30" fmla="*/ 915417 h 1032892"/>
                    <a:gd name="connsiteX31" fmla="*/ 381000 w 2644482"/>
                    <a:gd name="connsiteY31" fmla="*/ 912242 h 1032892"/>
                    <a:gd name="connsiteX32" fmla="*/ 333375 w 2644482"/>
                    <a:gd name="connsiteY32" fmla="*/ 931292 h 1032892"/>
                    <a:gd name="connsiteX33" fmla="*/ 292100 w 2644482"/>
                    <a:gd name="connsiteY33" fmla="*/ 915417 h 1032892"/>
                    <a:gd name="connsiteX34" fmla="*/ 149225 w 2644482"/>
                    <a:gd name="connsiteY34" fmla="*/ 915417 h 1032892"/>
                    <a:gd name="connsiteX35" fmla="*/ 0 w 2644482"/>
                    <a:gd name="connsiteY35" fmla="*/ 924942 h 1032892"/>
                    <a:gd name="connsiteX0" fmla="*/ 2618581 w 2644347"/>
                    <a:gd name="connsiteY0" fmla="*/ 125562 h 1046312"/>
                    <a:gd name="connsiteX1" fmla="*/ 2642394 w 2644347"/>
                    <a:gd name="connsiteY1" fmla="*/ 16024 h 1046312"/>
                    <a:gd name="connsiteX2" fmla="*/ 2642393 w 2644347"/>
                    <a:gd name="connsiteY2" fmla="*/ 6499 h 1046312"/>
                    <a:gd name="connsiteX3" fmla="*/ 2637631 w 2644347"/>
                    <a:gd name="connsiteY3" fmla="*/ 73174 h 1046312"/>
                    <a:gd name="connsiteX4" fmla="*/ 2575718 w 2644347"/>
                    <a:gd name="connsiteY4" fmla="*/ 261293 h 1046312"/>
                    <a:gd name="connsiteX5" fmla="*/ 2573337 w 2644347"/>
                    <a:gd name="connsiteY5" fmla="*/ 370831 h 1046312"/>
                    <a:gd name="connsiteX6" fmla="*/ 2582862 w 2644347"/>
                    <a:gd name="connsiteY6" fmla="*/ 411312 h 1046312"/>
                    <a:gd name="connsiteX7" fmla="*/ 2504280 w 2644347"/>
                    <a:gd name="connsiteY7" fmla="*/ 497037 h 1046312"/>
                    <a:gd name="connsiteX8" fmla="*/ 2404268 w 2644347"/>
                    <a:gd name="connsiteY8" fmla="*/ 649437 h 1046312"/>
                    <a:gd name="connsiteX9" fmla="*/ 2349499 w 2644347"/>
                    <a:gd name="connsiteY9" fmla="*/ 708968 h 1046312"/>
                    <a:gd name="connsiteX10" fmla="*/ 2244725 w 2644347"/>
                    <a:gd name="connsiteY10" fmla="*/ 839937 h 1046312"/>
                    <a:gd name="connsiteX11" fmla="*/ 2114550 w 2644347"/>
                    <a:gd name="connsiteY11" fmla="*/ 900262 h 1046312"/>
                    <a:gd name="connsiteX12" fmla="*/ 2054225 w 2644347"/>
                    <a:gd name="connsiteY12" fmla="*/ 912962 h 1046312"/>
                    <a:gd name="connsiteX13" fmla="*/ 1984375 w 2644347"/>
                    <a:gd name="connsiteY13" fmla="*/ 951062 h 1046312"/>
                    <a:gd name="connsiteX14" fmla="*/ 1962150 w 2644347"/>
                    <a:gd name="connsiteY14" fmla="*/ 989162 h 1046312"/>
                    <a:gd name="connsiteX15" fmla="*/ 1914525 w 2644347"/>
                    <a:gd name="connsiteY15" fmla="*/ 1046312 h 1046312"/>
                    <a:gd name="connsiteX16" fmla="*/ 1774825 w 2644347"/>
                    <a:gd name="connsiteY16" fmla="*/ 1030437 h 1046312"/>
                    <a:gd name="connsiteX17" fmla="*/ 1736725 w 2644347"/>
                    <a:gd name="connsiteY17" fmla="*/ 1033612 h 1046312"/>
                    <a:gd name="connsiteX18" fmla="*/ 1593850 w 2644347"/>
                    <a:gd name="connsiteY18" fmla="*/ 989162 h 1046312"/>
                    <a:gd name="connsiteX19" fmla="*/ 1543050 w 2644347"/>
                    <a:gd name="connsiteY19" fmla="*/ 947887 h 1046312"/>
                    <a:gd name="connsiteX20" fmla="*/ 1457325 w 2644347"/>
                    <a:gd name="connsiteY20" fmla="*/ 932012 h 1046312"/>
                    <a:gd name="connsiteX21" fmla="*/ 1422400 w 2644347"/>
                    <a:gd name="connsiteY21" fmla="*/ 947887 h 1046312"/>
                    <a:gd name="connsiteX22" fmla="*/ 1111250 w 2644347"/>
                    <a:gd name="connsiteY22" fmla="*/ 868512 h 1046312"/>
                    <a:gd name="connsiteX23" fmla="*/ 1031875 w 2644347"/>
                    <a:gd name="connsiteY23" fmla="*/ 874862 h 1046312"/>
                    <a:gd name="connsiteX24" fmla="*/ 987425 w 2644347"/>
                    <a:gd name="connsiteY24" fmla="*/ 881212 h 1046312"/>
                    <a:gd name="connsiteX25" fmla="*/ 946150 w 2644347"/>
                    <a:gd name="connsiteY25" fmla="*/ 865337 h 1046312"/>
                    <a:gd name="connsiteX26" fmla="*/ 828675 w 2644347"/>
                    <a:gd name="connsiteY26" fmla="*/ 878037 h 1046312"/>
                    <a:gd name="connsiteX27" fmla="*/ 765175 w 2644347"/>
                    <a:gd name="connsiteY27" fmla="*/ 865337 h 1046312"/>
                    <a:gd name="connsiteX28" fmla="*/ 606425 w 2644347"/>
                    <a:gd name="connsiteY28" fmla="*/ 884387 h 1046312"/>
                    <a:gd name="connsiteX29" fmla="*/ 488950 w 2644347"/>
                    <a:gd name="connsiteY29" fmla="*/ 919312 h 1046312"/>
                    <a:gd name="connsiteX30" fmla="*/ 469900 w 2644347"/>
                    <a:gd name="connsiteY30" fmla="*/ 944712 h 1046312"/>
                    <a:gd name="connsiteX31" fmla="*/ 431800 w 2644347"/>
                    <a:gd name="connsiteY31" fmla="*/ 928837 h 1046312"/>
                    <a:gd name="connsiteX32" fmla="*/ 381000 w 2644347"/>
                    <a:gd name="connsiteY32" fmla="*/ 925662 h 1046312"/>
                    <a:gd name="connsiteX33" fmla="*/ 333375 w 2644347"/>
                    <a:gd name="connsiteY33" fmla="*/ 944712 h 1046312"/>
                    <a:gd name="connsiteX34" fmla="*/ 292100 w 2644347"/>
                    <a:gd name="connsiteY34" fmla="*/ 928837 h 1046312"/>
                    <a:gd name="connsiteX35" fmla="*/ 149225 w 2644347"/>
                    <a:gd name="connsiteY35" fmla="*/ 928837 h 1046312"/>
                    <a:gd name="connsiteX36" fmla="*/ 0 w 2644347"/>
                    <a:gd name="connsiteY36" fmla="*/ 938362 h 1046312"/>
                    <a:gd name="connsiteX0" fmla="*/ 2618581 w 2647353"/>
                    <a:gd name="connsiteY0" fmla="*/ 154108 h 1074858"/>
                    <a:gd name="connsiteX1" fmla="*/ 2642394 w 2647353"/>
                    <a:gd name="connsiteY1" fmla="*/ 44570 h 1074858"/>
                    <a:gd name="connsiteX2" fmla="*/ 2647155 w 2647353"/>
                    <a:gd name="connsiteY2" fmla="*/ 1707 h 1074858"/>
                    <a:gd name="connsiteX3" fmla="*/ 2637631 w 2647353"/>
                    <a:gd name="connsiteY3" fmla="*/ 101720 h 1074858"/>
                    <a:gd name="connsiteX4" fmla="*/ 2575718 w 2647353"/>
                    <a:gd name="connsiteY4" fmla="*/ 289839 h 1074858"/>
                    <a:gd name="connsiteX5" fmla="*/ 2573337 w 2647353"/>
                    <a:gd name="connsiteY5" fmla="*/ 399377 h 1074858"/>
                    <a:gd name="connsiteX6" fmla="*/ 2582862 w 2647353"/>
                    <a:gd name="connsiteY6" fmla="*/ 439858 h 1074858"/>
                    <a:gd name="connsiteX7" fmla="*/ 2504280 w 2647353"/>
                    <a:gd name="connsiteY7" fmla="*/ 525583 h 1074858"/>
                    <a:gd name="connsiteX8" fmla="*/ 2404268 w 2647353"/>
                    <a:gd name="connsiteY8" fmla="*/ 677983 h 1074858"/>
                    <a:gd name="connsiteX9" fmla="*/ 2349499 w 2647353"/>
                    <a:gd name="connsiteY9" fmla="*/ 737514 h 1074858"/>
                    <a:gd name="connsiteX10" fmla="*/ 2244725 w 2647353"/>
                    <a:gd name="connsiteY10" fmla="*/ 868483 h 1074858"/>
                    <a:gd name="connsiteX11" fmla="*/ 2114550 w 2647353"/>
                    <a:gd name="connsiteY11" fmla="*/ 928808 h 1074858"/>
                    <a:gd name="connsiteX12" fmla="*/ 2054225 w 2647353"/>
                    <a:gd name="connsiteY12" fmla="*/ 941508 h 1074858"/>
                    <a:gd name="connsiteX13" fmla="*/ 1984375 w 2647353"/>
                    <a:gd name="connsiteY13" fmla="*/ 979608 h 1074858"/>
                    <a:gd name="connsiteX14" fmla="*/ 1962150 w 2647353"/>
                    <a:gd name="connsiteY14" fmla="*/ 1017708 h 1074858"/>
                    <a:gd name="connsiteX15" fmla="*/ 1914525 w 2647353"/>
                    <a:gd name="connsiteY15" fmla="*/ 1074858 h 1074858"/>
                    <a:gd name="connsiteX16" fmla="*/ 1774825 w 2647353"/>
                    <a:gd name="connsiteY16" fmla="*/ 1058983 h 1074858"/>
                    <a:gd name="connsiteX17" fmla="*/ 1736725 w 2647353"/>
                    <a:gd name="connsiteY17" fmla="*/ 1062158 h 1074858"/>
                    <a:gd name="connsiteX18" fmla="*/ 1593850 w 2647353"/>
                    <a:gd name="connsiteY18" fmla="*/ 1017708 h 1074858"/>
                    <a:gd name="connsiteX19" fmla="*/ 1543050 w 2647353"/>
                    <a:gd name="connsiteY19" fmla="*/ 976433 h 1074858"/>
                    <a:gd name="connsiteX20" fmla="*/ 1457325 w 2647353"/>
                    <a:gd name="connsiteY20" fmla="*/ 960558 h 1074858"/>
                    <a:gd name="connsiteX21" fmla="*/ 1422400 w 2647353"/>
                    <a:gd name="connsiteY21" fmla="*/ 976433 h 1074858"/>
                    <a:gd name="connsiteX22" fmla="*/ 1111250 w 2647353"/>
                    <a:gd name="connsiteY22" fmla="*/ 897058 h 1074858"/>
                    <a:gd name="connsiteX23" fmla="*/ 1031875 w 2647353"/>
                    <a:gd name="connsiteY23" fmla="*/ 903408 h 1074858"/>
                    <a:gd name="connsiteX24" fmla="*/ 987425 w 2647353"/>
                    <a:gd name="connsiteY24" fmla="*/ 909758 h 1074858"/>
                    <a:gd name="connsiteX25" fmla="*/ 946150 w 2647353"/>
                    <a:gd name="connsiteY25" fmla="*/ 893883 h 1074858"/>
                    <a:gd name="connsiteX26" fmla="*/ 828675 w 2647353"/>
                    <a:gd name="connsiteY26" fmla="*/ 906583 h 1074858"/>
                    <a:gd name="connsiteX27" fmla="*/ 765175 w 2647353"/>
                    <a:gd name="connsiteY27" fmla="*/ 893883 h 1074858"/>
                    <a:gd name="connsiteX28" fmla="*/ 606425 w 2647353"/>
                    <a:gd name="connsiteY28" fmla="*/ 912933 h 1074858"/>
                    <a:gd name="connsiteX29" fmla="*/ 488950 w 2647353"/>
                    <a:gd name="connsiteY29" fmla="*/ 947858 h 1074858"/>
                    <a:gd name="connsiteX30" fmla="*/ 469900 w 2647353"/>
                    <a:gd name="connsiteY30" fmla="*/ 973258 h 1074858"/>
                    <a:gd name="connsiteX31" fmla="*/ 431800 w 2647353"/>
                    <a:gd name="connsiteY31" fmla="*/ 957383 h 1074858"/>
                    <a:gd name="connsiteX32" fmla="*/ 381000 w 2647353"/>
                    <a:gd name="connsiteY32" fmla="*/ 954208 h 1074858"/>
                    <a:gd name="connsiteX33" fmla="*/ 333375 w 2647353"/>
                    <a:gd name="connsiteY33" fmla="*/ 973258 h 1074858"/>
                    <a:gd name="connsiteX34" fmla="*/ 292100 w 2647353"/>
                    <a:gd name="connsiteY34" fmla="*/ 957383 h 1074858"/>
                    <a:gd name="connsiteX35" fmla="*/ 149225 w 2647353"/>
                    <a:gd name="connsiteY35" fmla="*/ 957383 h 1074858"/>
                    <a:gd name="connsiteX36" fmla="*/ 0 w 2647353"/>
                    <a:gd name="connsiteY36" fmla="*/ 966908 h 1074858"/>
                    <a:gd name="connsiteX0" fmla="*/ 2618581 w 2647353"/>
                    <a:gd name="connsiteY0" fmla="*/ 154108 h 1074858"/>
                    <a:gd name="connsiteX1" fmla="*/ 2642394 w 2647353"/>
                    <a:gd name="connsiteY1" fmla="*/ 44570 h 1074858"/>
                    <a:gd name="connsiteX2" fmla="*/ 2647155 w 2647353"/>
                    <a:gd name="connsiteY2" fmla="*/ 1707 h 1074858"/>
                    <a:gd name="connsiteX3" fmla="*/ 2637631 w 2647353"/>
                    <a:gd name="connsiteY3" fmla="*/ 101720 h 1074858"/>
                    <a:gd name="connsiteX4" fmla="*/ 2575718 w 2647353"/>
                    <a:gd name="connsiteY4" fmla="*/ 289839 h 1074858"/>
                    <a:gd name="connsiteX5" fmla="*/ 2573337 w 2647353"/>
                    <a:gd name="connsiteY5" fmla="*/ 399377 h 1074858"/>
                    <a:gd name="connsiteX6" fmla="*/ 2582862 w 2647353"/>
                    <a:gd name="connsiteY6" fmla="*/ 439858 h 1074858"/>
                    <a:gd name="connsiteX7" fmla="*/ 2504280 w 2647353"/>
                    <a:gd name="connsiteY7" fmla="*/ 525583 h 1074858"/>
                    <a:gd name="connsiteX8" fmla="*/ 2404268 w 2647353"/>
                    <a:gd name="connsiteY8" fmla="*/ 677983 h 1074858"/>
                    <a:gd name="connsiteX9" fmla="*/ 2349499 w 2647353"/>
                    <a:gd name="connsiteY9" fmla="*/ 737514 h 1074858"/>
                    <a:gd name="connsiteX10" fmla="*/ 2244725 w 2647353"/>
                    <a:gd name="connsiteY10" fmla="*/ 868483 h 1074858"/>
                    <a:gd name="connsiteX11" fmla="*/ 2114550 w 2647353"/>
                    <a:gd name="connsiteY11" fmla="*/ 928808 h 1074858"/>
                    <a:gd name="connsiteX12" fmla="*/ 2054225 w 2647353"/>
                    <a:gd name="connsiteY12" fmla="*/ 941508 h 1074858"/>
                    <a:gd name="connsiteX13" fmla="*/ 1984375 w 2647353"/>
                    <a:gd name="connsiteY13" fmla="*/ 979608 h 1074858"/>
                    <a:gd name="connsiteX14" fmla="*/ 1962150 w 2647353"/>
                    <a:gd name="connsiteY14" fmla="*/ 1017708 h 1074858"/>
                    <a:gd name="connsiteX15" fmla="*/ 1914525 w 2647353"/>
                    <a:gd name="connsiteY15" fmla="*/ 1074858 h 1074858"/>
                    <a:gd name="connsiteX16" fmla="*/ 1774825 w 2647353"/>
                    <a:gd name="connsiteY16" fmla="*/ 1058983 h 1074858"/>
                    <a:gd name="connsiteX17" fmla="*/ 1736725 w 2647353"/>
                    <a:gd name="connsiteY17" fmla="*/ 1062158 h 1074858"/>
                    <a:gd name="connsiteX18" fmla="*/ 1593850 w 2647353"/>
                    <a:gd name="connsiteY18" fmla="*/ 1017708 h 1074858"/>
                    <a:gd name="connsiteX19" fmla="*/ 1543050 w 2647353"/>
                    <a:gd name="connsiteY19" fmla="*/ 976433 h 1074858"/>
                    <a:gd name="connsiteX20" fmla="*/ 1457325 w 2647353"/>
                    <a:gd name="connsiteY20" fmla="*/ 960558 h 1074858"/>
                    <a:gd name="connsiteX21" fmla="*/ 1422400 w 2647353"/>
                    <a:gd name="connsiteY21" fmla="*/ 976433 h 1074858"/>
                    <a:gd name="connsiteX22" fmla="*/ 1200150 w 2647353"/>
                    <a:gd name="connsiteY22" fmla="*/ 430333 h 1074858"/>
                    <a:gd name="connsiteX23" fmla="*/ 1031875 w 2647353"/>
                    <a:gd name="connsiteY23" fmla="*/ 903408 h 1074858"/>
                    <a:gd name="connsiteX24" fmla="*/ 987425 w 2647353"/>
                    <a:gd name="connsiteY24" fmla="*/ 909758 h 1074858"/>
                    <a:gd name="connsiteX25" fmla="*/ 946150 w 2647353"/>
                    <a:gd name="connsiteY25" fmla="*/ 893883 h 1074858"/>
                    <a:gd name="connsiteX26" fmla="*/ 828675 w 2647353"/>
                    <a:gd name="connsiteY26" fmla="*/ 906583 h 1074858"/>
                    <a:gd name="connsiteX27" fmla="*/ 765175 w 2647353"/>
                    <a:gd name="connsiteY27" fmla="*/ 893883 h 1074858"/>
                    <a:gd name="connsiteX28" fmla="*/ 606425 w 2647353"/>
                    <a:gd name="connsiteY28" fmla="*/ 912933 h 1074858"/>
                    <a:gd name="connsiteX29" fmla="*/ 488950 w 2647353"/>
                    <a:gd name="connsiteY29" fmla="*/ 947858 h 1074858"/>
                    <a:gd name="connsiteX30" fmla="*/ 469900 w 2647353"/>
                    <a:gd name="connsiteY30" fmla="*/ 973258 h 1074858"/>
                    <a:gd name="connsiteX31" fmla="*/ 431800 w 2647353"/>
                    <a:gd name="connsiteY31" fmla="*/ 957383 h 1074858"/>
                    <a:gd name="connsiteX32" fmla="*/ 381000 w 2647353"/>
                    <a:gd name="connsiteY32" fmla="*/ 954208 h 1074858"/>
                    <a:gd name="connsiteX33" fmla="*/ 333375 w 2647353"/>
                    <a:gd name="connsiteY33" fmla="*/ 973258 h 1074858"/>
                    <a:gd name="connsiteX34" fmla="*/ 292100 w 2647353"/>
                    <a:gd name="connsiteY34" fmla="*/ 957383 h 1074858"/>
                    <a:gd name="connsiteX35" fmla="*/ 149225 w 2647353"/>
                    <a:gd name="connsiteY35" fmla="*/ 957383 h 1074858"/>
                    <a:gd name="connsiteX36" fmla="*/ 0 w 2647353"/>
                    <a:gd name="connsiteY36" fmla="*/ 966908 h 1074858"/>
                    <a:gd name="connsiteX0" fmla="*/ 2618581 w 2647353"/>
                    <a:gd name="connsiteY0" fmla="*/ 154108 h 1074858"/>
                    <a:gd name="connsiteX1" fmla="*/ 2642394 w 2647353"/>
                    <a:gd name="connsiteY1" fmla="*/ 44570 h 1074858"/>
                    <a:gd name="connsiteX2" fmla="*/ 2647155 w 2647353"/>
                    <a:gd name="connsiteY2" fmla="*/ 1707 h 1074858"/>
                    <a:gd name="connsiteX3" fmla="*/ 2637631 w 2647353"/>
                    <a:gd name="connsiteY3" fmla="*/ 101720 h 1074858"/>
                    <a:gd name="connsiteX4" fmla="*/ 2575718 w 2647353"/>
                    <a:gd name="connsiteY4" fmla="*/ 289839 h 1074858"/>
                    <a:gd name="connsiteX5" fmla="*/ 2573337 w 2647353"/>
                    <a:gd name="connsiteY5" fmla="*/ 399377 h 1074858"/>
                    <a:gd name="connsiteX6" fmla="*/ 2582862 w 2647353"/>
                    <a:gd name="connsiteY6" fmla="*/ 439858 h 1074858"/>
                    <a:gd name="connsiteX7" fmla="*/ 2504280 w 2647353"/>
                    <a:gd name="connsiteY7" fmla="*/ 525583 h 1074858"/>
                    <a:gd name="connsiteX8" fmla="*/ 2404268 w 2647353"/>
                    <a:gd name="connsiteY8" fmla="*/ 677983 h 1074858"/>
                    <a:gd name="connsiteX9" fmla="*/ 2349499 w 2647353"/>
                    <a:gd name="connsiteY9" fmla="*/ 737514 h 1074858"/>
                    <a:gd name="connsiteX10" fmla="*/ 2244725 w 2647353"/>
                    <a:gd name="connsiteY10" fmla="*/ 868483 h 1074858"/>
                    <a:gd name="connsiteX11" fmla="*/ 2114550 w 2647353"/>
                    <a:gd name="connsiteY11" fmla="*/ 928808 h 1074858"/>
                    <a:gd name="connsiteX12" fmla="*/ 2054225 w 2647353"/>
                    <a:gd name="connsiteY12" fmla="*/ 941508 h 1074858"/>
                    <a:gd name="connsiteX13" fmla="*/ 1984375 w 2647353"/>
                    <a:gd name="connsiteY13" fmla="*/ 979608 h 1074858"/>
                    <a:gd name="connsiteX14" fmla="*/ 1962150 w 2647353"/>
                    <a:gd name="connsiteY14" fmla="*/ 1017708 h 1074858"/>
                    <a:gd name="connsiteX15" fmla="*/ 1914525 w 2647353"/>
                    <a:gd name="connsiteY15" fmla="*/ 1074858 h 1074858"/>
                    <a:gd name="connsiteX16" fmla="*/ 1774825 w 2647353"/>
                    <a:gd name="connsiteY16" fmla="*/ 1058983 h 1074858"/>
                    <a:gd name="connsiteX17" fmla="*/ 1736725 w 2647353"/>
                    <a:gd name="connsiteY17" fmla="*/ 1062158 h 1074858"/>
                    <a:gd name="connsiteX18" fmla="*/ 1593850 w 2647353"/>
                    <a:gd name="connsiteY18" fmla="*/ 1017708 h 1074858"/>
                    <a:gd name="connsiteX19" fmla="*/ 1543050 w 2647353"/>
                    <a:gd name="connsiteY19" fmla="*/ 976433 h 1074858"/>
                    <a:gd name="connsiteX20" fmla="*/ 1457325 w 2647353"/>
                    <a:gd name="connsiteY20" fmla="*/ 960558 h 1074858"/>
                    <a:gd name="connsiteX21" fmla="*/ 1200150 w 2647353"/>
                    <a:gd name="connsiteY21" fmla="*/ 430333 h 1074858"/>
                    <a:gd name="connsiteX22" fmla="*/ 1031875 w 2647353"/>
                    <a:gd name="connsiteY22" fmla="*/ 903408 h 1074858"/>
                    <a:gd name="connsiteX23" fmla="*/ 987425 w 2647353"/>
                    <a:gd name="connsiteY23" fmla="*/ 909758 h 1074858"/>
                    <a:gd name="connsiteX24" fmla="*/ 946150 w 2647353"/>
                    <a:gd name="connsiteY24" fmla="*/ 893883 h 1074858"/>
                    <a:gd name="connsiteX25" fmla="*/ 828675 w 2647353"/>
                    <a:gd name="connsiteY25" fmla="*/ 906583 h 1074858"/>
                    <a:gd name="connsiteX26" fmla="*/ 765175 w 2647353"/>
                    <a:gd name="connsiteY26" fmla="*/ 893883 h 1074858"/>
                    <a:gd name="connsiteX27" fmla="*/ 606425 w 2647353"/>
                    <a:gd name="connsiteY27" fmla="*/ 912933 h 1074858"/>
                    <a:gd name="connsiteX28" fmla="*/ 488950 w 2647353"/>
                    <a:gd name="connsiteY28" fmla="*/ 947858 h 1074858"/>
                    <a:gd name="connsiteX29" fmla="*/ 469900 w 2647353"/>
                    <a:gd name="connsiteY29" fmla="*/ 973258 h 1074858"/>
                    <a:gd name="connsiteX30" fmla="*/ 431800 w 2647353"/>
                    <a:gd name="connsiteY30" fmla="*/ 957383 h 1074858"/>
                    <a:gd name="connsiteX31" fmla="*/ 381000 w 2647353"/>
                    <a:gd name="connsiteY31" fmla="*/ 954208 h 1074858"/>
                    <a:gd name="connsiteX32" fmla="*/ 333375 w 2647353"/>
                    <a:gd name="connsiteY32" fmla="*/ 973258 h 1074858"/>
                    <a:gd name="connsiteX33" fmla="*/ 292100 w 2647353"/>
                    <a:gd name="connsiteY33" fmla="*/ 957383 h 1074858"/>
                    <a:gd name="connsiteX34" fmla="*/ 149225 w 2647353"/>
                    <a:gd name="connsiteY34" fmla="*/ 957383 h 1074858"/>
                    <a:gd name="connsiteX35" fmla="*/ 0 w 2647353"/>
                    <a:gd name="connsiteY35" fmla="*/ 966908 h 1074858"/>
                    <a:gd name="connsiteX0" fmla="*/ 2618581 w 2647353"/>
                    <a:gd name="connsiteY0" fmla="*/ 154108 h 1074858"/>
                    <a:gd name="connsiteX1" fmla="*/ 2642394 w 2647353"/>
                    <a:gd name="connsiteY1" fmla="*/ 44570 h 1074858"/>
                    <a:gd name="connsiteX2" fmla="*/ 2647155 w 2647353"/>
                    <a:gd name="connsiteY2" fmla="*/ 1707 h 1074858"/>
                    <a:gd name="connsiteX3" fmla="*/ 2637631 w 2647353"/>
                    <a:gd name="connsiteY3" fmla="*/ 101720 h 1074858"/>
                    <a:gd name="connsiteX4" fmla="*/ 2575718 w 2647353"/>
                    <a:gd name="connsiteY4" fmla="*/ 289839 h 1074858"/>
                    <a:gd name="connsiteX5" fmla="*/ 2573337 w 2647353"/>
                    <a:gd name="connsiteY5" fmla="*/ 399377 h 1074858"/>
                    <a:gd name="connsiteX6" fmla="*/ 2582862 w 2647353"/>
                    <a:gd name="connsiteY6" fmla="*/ 439858 h 1074858"/>
                    <a:gd name="connsiteX7" fmla="*/ 2504280 w 2647353"/>
                    <a:gd name="connsiteY7" fmla="*/ 525583 h 1074858"/>
                    <a:gd name="connsiteX8" fmla="*/ 2404268 w 2647353"/>
                    <a:gd name="connsiteY8" fmla="*/ 677983 h 1074858"/>
                    <a:gd name="connsiteX9" fmla="*/ 2349499 w 2647353"/>
                    <a:gd name="connsiteY9" fmla="*/ 737514 h 1074858"/>
                    <a:gd name="connsiteX10" fmla="*/ 2244725 w 2647353"/>
                    <a:gd name="connsiteY10" fmla="*/ 868483 h 1074858"/>
                    <a:gd name="connsiteX11" fmla="*/ 2114550 w 2647353"/>
                    <a:gd name="connsiteY11" fmla="*/ 928808 h 1074858"/>
                    <a:gd name="connsiteX12" fmla="*/ 2054225 w 2647353"/>
                    <a:gd name="connsiteY12" fmla="*/ 941508 h 1074858"/>
                    <a:gd name="connsiteX13" fmla="*/ 1984375 w 2647353"/>
                    <a:gd name="connsiteY13" fmla="*/ 979608 h 1074858"/>
                    <a:gd name="connsiteX14" fmla="*/ 1962150 w 2647353"/>
                    <a:gd name="connsiteY14" fmla="*/ 1017708 h 1074858"/>
                    <a:gd name="connsiteX15" fmla="*/ 1914525 w 2647353"/>
                    <a:gd name="connsiteY15" fmla="*/ 1074858 h 1074858"/>
                    <a:gd name="connsiteX16" fmla="*/ 1774825 w 2647353"/>
                    <a:gd name="connsiteY16" fmla="*/ 1058983 h 1074858"/>
                    <a:gd name="connsiteX17" fmla="*/ 1736725 w 2647353"/>
                    <a:gd name="connsiteY17" fmla="*/ 1062158 h 1074858"/>
                    <a:gd name="connsiteX18" fmla="*/ 1593850 w 2647353"/>
                    <a:gd name="connsiteY18" fmla="*/ 1017708 h 1074858"/>
                    <a:gd name="connsiteX19" fmla="*/ 1543050 w 2647353"/>
                    <a:gd name="connsiteY19" fmla="*/ 976433 h 1074858"/>
                    <a:gd name="connsiteX20" fmla="*/ 1200150 w 2647353"/>
                    <a:gd name="connsiteY20" fmla="*/ 430333 h 1074858"/>
                    <a:gd name="connsiteX21" fmla="*/ 1031875 w 2647353"/>
                    <a:gd name="connsiteY21" fmla="*/ 903408 h 1074858"/>
                    <a:gd name="connsiteX22" fmla="*/ 987425 w 2647353"/>
                    <a:gd name="connsiteY22" fmla="*/ 909758 h 1074858"/>
                    <a:gd name="connsiteX23" fmla="*/ 946150 w 2647353"/>
                    <a:gd name="connsiteY23" fmla="*/ 893883 h 1074858"/>
                    <a:gd name="connsiteX24" fmla="*/ 828675 w 2647353"/>
                    <a:gd name="connsiteY24" fmla="*/ 906583 h 1074858"/>
                    <a:gd name="connsiteX25" fmla="*/ 765175 w 2647353"/>
                    <a:gd name="connsiteY25" fmla="*/ 893883 h 1074858"/>
                    <a:gd name="connsiteX26" fmla="*/ 606425 w 2647353"/>
                    <a:gd name="connsiteY26" fmla="*/ 912933 h 1074858"/>
                    <a:gd name="connsiteX27" fmla="*/ 488950 w 2647353"/>
                    <a:gd name="connsiteY27" fmla="*/ 947858 h 1074858"/>
                    <a:gd name="connsiteX28" fmla="*/ 469900 w 2647353"/>
                    <a:gd name="connsiteY28" fmla="*/ 973258 h 1074858"/>
                    <a:gd name="connsiteX29" fmla="*/ 431800 w 2647353"/>
                    <a:gd name="connsiteY29" fmla="*/ 957383 h 1074858"/>
                    <a:gd name="connsiteX30" fmla="*/ 381000 w 2647353"/>
                    <a:gd name="connsiteY30" fmla="*/ 954208 h 1074858"/>
                    <a:gd name="connsiteX31" fmla="*/ 333375 w 2647353"/>
                    <a:gd name="connsiteY31" fmla="*/ 973258 h 1074858"/>
                    <a:gd name="connsiteX32" fmla="*/ 292100 w 2647353"/>
                    <a:gd name="connsiteY32" fmla="*/ 957383 h 1074858"/>
                    <a:gd name="connsiteX33" fmla="*/ 149225 w 2647353"/>
                    <a:gd name="connsiteY33" fmla="*/ 957383 h 1074858"/>
                    <a:gd name="connsiteX34" fmla="*/ 0 w 2647353"/>
                    <a:gd name="connsiteY34" fmla="*/ 966908 h 1074858"/>
                    <a:gd name="connsiteX0" fmla="*/ 2618581 w 2647353"/>
                    <a:gd name="connsiteY0" fmla="*/ 154108 h 1074858"/>
                    <a:gd name="connsiteX1" fmla="*/ 2642394 w 2647353"/>
                    <a:gd name="connsiteY1" fmla="*/ 44570 h 1074858"/>
                    <a:gd name="connsiteX2" fmla="*/ 2647155 w 2647353"/>
                    <a:gd name="connsiteY2" fmla="*/ 1707 h 1074858"/>
                    <a:gd name="connsiteX3" fmla="*/ 2637631 w 2647353"/>
                    <a:gd name="connsiteY3" fmla="*/ 101720 h 1074858"/>
                    <a:gd name="connsiteX4" fmla="*/ 2575718 w 2647353"/>
                    <a:gd name="connsiteY4" fmla="*/ 289839 h 1074858"/>
                    <a:gd name="connsiteX5" fmla="*/ 2573337 w 2647353"/>
                    <a:gd name="connsiteY5" fmla="*/ 399377 h 1074858"/>
                    <a:gd name="connsiteX6" fmla="*/ 2582862 w 2647353"/>
                    <a:gd name="connsiteY6" fmla="*/ 439858 h 1074858"/>
                    <a:gd name="connsiteX7" fmla="*/ 2504280 w 2647353"/>
                    <a:gd name="connsiteY7" fmla="*/ 525583 h 1074858"/>
                    <a:gd name="connsiteX8" fmla="*/ 2404268 w 2647353"/>
                    <a:gd name="connsiteY8" fmla="*/ 677983 h 1074858"/>
                    <a:gd name="connsiteX9" fmla="*/ 2349499 w 2647353"/>
                    <a:gd name="connsiteY9" fmla="*/ 737514 h 1074858"/>
                    <a:gd name="connsiteX10" fmla="*/ 2244725 w 2647353"/>
                    <a:gd name="connsiteY10" fmla="*/ 868483 h 1074858"/>
                    <a:gd name="connsiteX11" fmla="*/ 2114550 w 2647353"/>
                    <a:gd name="connsiteY11" fmla="*/ 928808 h 1074858"/>
                    <a:gd name="connsiteX12" fmla="*/ 2054225 w 2647353"/>
                    <a:gd name="connsiteY12" fmla="*/ 941508 h 1074858"/>
                    <a:gd name="connsiteX13" fmla="*/ 1984375 w 2647353"/>
                    <a:gd name="connsiteY13" fmla="*/ 979608 h 1074858"/>
                    <a:gd name="connsiteX14" fmla="*/ 1962150 w 2647353"/>
                    <a:gd name="connsiteY14" fmla="*/ 1017708 h 1074858"/>
                    <a:gd name="connsiteX15" fmla="*/ 1914525 w 2647353"/>
                    <a:gd name="connsiteY15" fmla="*/ 1074858 h 1074858"/>
                    <a:gd name="connsiteX16" fmla="*/ 1774825 w 2647353"/>
                    <a:gd name="connsiteY16" fmla="*/ 1058983 h 1074858"/>
                    <a:gd name="connsiteX17" fmla="*/ 1736725 w 2647353"/>
                    <a:gd name="connsiteY17" fmla="*/ 1062158 h 1074858"/>
                    <a:gd name="connsiteX18" fmla="*/ 1593850 w 2647353"/>
                    <a:gd name="connsiteY18" fmla="*/ 1017708 h 1074858"/>
                    <a:gd name="connsiteX19" fmla="*/ 1200150 w 2647353"/>
                    <a:gd name="connsiteY19" fmla="*/ 430333 h 1074858"/>
                    <a:gd name="connsiteX20" fmla="*/ 1031875 w 2647353"/>
                    <a:gd name="connsiteY20" fmla="*/ 903408 h 1074858"/>
                    <a:gd name="connsiteX21" fmla="*/ 987425 w 2647353"/>
                    <a:gd name="connsiteY21" fmla="*/ 909758 h 1074858"/>
                    <a:gd name="connsiteX22" fmla="*/ 946150 w 2647353"/>
                    <a:gd name="connsiteY22" fmla="*/ 893883 h 1074858"/>
                    <a:gd name="connsiteX23" fmla="*/ 828675 w 2647353"/>
                    <a:gd name="connsiteY23" fmla="*/ 906583 h 1074858"/>
                    <a:gd name="connsiteX24" fmla="*/ 765175 w 2647353"/>
                    <a:gd name="connsiteY24" fmla="*/ 893883 h 1074858"/>
                    <a:gd name="connsiteX25" fmla="*/ 606425 w 2647353"/>
                    <a:gd name="connsiteY25" fmla="*/ 912933 h 1074858"/>
                    <a:gd name="connsiteX26" fmla="*/ 488950 w 2647353"/>
                    <a:gd name="connsiteY26" fmla="*/ 947858 h 1074858"/>
                    <a:gd name="connsiteX27" fmla="*/ 469900 w 2647353"/>
                    <a:gd name="connsiteY27" fmla="*/ 973258 h 1074858"/>
                    <a:gd name="connsiteX28" fmla="*/ 431800 w 2647353"/>
                    <a:gd name="connsiteY28" fmla="*/ 957383 h 1074858"/>
                    <a:gd name="connsiteX29" fmla="*/ 381000 w 2647353"/>
                    <a:gd name="connsiteY29" fmla="*/ 954208 h 1074858"/>
                    <a:gd name="connsiteX30" fmla="*/ 333375 w 2647353"/>
                    <a:gd name="connsiteY30" fmla="*/ 973258 h 1074858"/>
                    <a:gd name="connsiteX31" fmla="*/ 292100 w 2647353"/>
                    <a:gd name="connsiteY31" fmla="*/ 957383 h 1074858"/>
                    <a:gd name="connsiteX32" fmla="*/ 149225 w 2647353"/>
                    <a:gd name="connsiteY32" fmla="*/ 957383 h 1074858"/>
                    <a:gd name="connsiteX33" fmla="*/ 0 w 2647353"/>
                    <a:gd name="connsiteY33" fmla="*/ 966908 h 1074858"/>
                    <a:gd name="connsiteX0" fmla="*/ 2618581 w 2647353"/>
                    <a:gd name="connsiteY0" fmla="*/ 154108 h 1074858"/>
                    <a:gd name="connsiteX1" fmla="*/ 2642394 w 2647353"/>
                    <a:gd name="connsiteY1" fmla="*/ 44570 h 1074858"/>
                    <a:gd name="connsiteX2" fmla="*/ 2647155 w 2647353"/>
                    <a:gd name="connsiteY2" fmla="*/ 1707 h 1074858"/>
                    <a:gd name="connsiteX3" fmla="*/ 2637631 w 2647353"/>
                    <a:gd name="connsiteY3" fmla="*/ 101720 h 1074858"/>
                    <a:gd name="connsiteX4" fmla="*/ 2575718 w 2647353"/>
                    <a:gd name="connsiteY4" fmla="*/ 289839 h 1074858"/>
                    <a:gd name="connsiteX5" fmla="*/ 2573337 w 2647353"/>
                    <a:gd name="connsiteY5" fmla="*/ 399377 h 1074858"/>
                    <a:gd name="connsiteX6" fmla="*/ 2582862 w 2647353"/>
                    <a:gd name="connsiteY6" fmla="*/ 439858 h 1074858"/>
                    <a:gd name="connsiteX7" fmla="*/ 2504280 w 2647353"/>
                    <a:gd name="connsiteY7" fmla="*/ 525583 h 1074858"/>
                    <a:gd name="connsiteX8" fmla="*/ 2404268 w 2647353"/>
                    <a:gd name="connsiteY8" fmla="*/ 677983 h 1074858"/>
                    <a:gd name="connsiteX9" fmla="*/ 2349499 w 2647353"/>
                    <a:gd name="connsiteY9" fmla="*/ 737514 h 1074858"/>
                    <a:gd name="connsiteX10" fmla="*/ 2244725 w 2647353"/>
                    <a:gd name="connsiteY10" fmla="*/ 868483 h 1074858"/>
                    <a:gd name="connsiteX11" fmla="*/ 2114550 w 2647353"/>
                    <a:gd name="connsiteY11" fmla="*/ 928808 h 1074858"/>
                    <a:gd name="connsiteX12" fmla="*/ 2054225 w 2647353"/>
                    <a:gd name="connsiteY12" fmla="*/ 941508 h 1074858"/>
                    <a:gd name="connsiteX13" fmla="*/ 1984375 w 2647353"/>
                    <a:gd name="connsiteY13" fmla="*/ 979608 h 1074858"/>
                    <a:gd name="connsiteX14" fmla="*/ 1962150 w 2647353"/>
                    <a:gd name="connsiteY14" fmla="*/ 1017708 h 1074858"/>
                    <a:gd name="connsiteX15" fmla="*/ 1914525 w 2647353"/>
                    <a:gd name="connsiteY15" fmla="*/ 1074858 h 1074858"/>
                    <a:gd name="connsiteX16" fmla="*/ 1774825 w 2647353"/>
                    <a:gd name="connsiteY16" fmla="*/ 1058983 h 1074858"/>
                    <a:gd name="connsiteX17" fmla="*/ 1736725 w 2647353"/>
                    <a:gd name="connsiteY17" fmla="*/ 1062158 h 1074858"/>
                    <a:gd name="connsiteX18" fmla="*/ 1200150 w 2647353"/>
                    <a:gd name="connsiteY18" fmla="*/ 430333 h 1074858"/>
                    <a:gd name="connsiteX19" fmla="*/ 1031875 w 2647353"/>
                    <a:gd name="connsiteY19" fmla="*/ 903408 h 1074858"/>
                    <a:gd name="connsiteX20" fmla="*/ 987425 w 2647353"/>
                    <a:gd name="connsiteY20" fmla="*/ 909758 h 1074858"/>
                    <a:gd name="connsiteX21" fmla="*/ 946150 w 2647353"/>
                    <a:gd name="connsiteY21" fmla="*/ 893883 h 1074858"/>
                    <a:gd name="connsiteX22" fmla="*/ 828675 w 2647353"/>
                    <a:gd name="connsiteY22" fmla="*/ 906583 h 1074858"/>
                    <a:gd name="connsiteX23" fmla="*/ 765175 w 2647353"/>
                    <a:gd name="connsiteY23" fmla="*/ 893883 h 1074858"/>
                    <a:gd name="connsiteX24" fmla="*/ 606425 w 2647353"/>
                    <a:gd name="connsiteY24" fmla="*/ 912933 h 1074858"/>
                    <a:gd name="connsiteX25" fmla="*/ 488950 w 2647353"/>
                    <a:gd name="connsiteY25" fmla="*/ 947858 h 1074858"/>
                    <a:gd name="connsiteX26" fmla="*/ 469900 w 2647353"/>
                    <a:gd name="connsiteY26" fmla="*/ 973258 h 1074858"/>
                    <a:gd name="connsiteX27" fmla="*/ 431800 w 2647353"/>
                    <a:gd name="connsiteY27" fmla="*/ 957383 h 1074858"/>
                    <a:gd name="connsiteX28" fmla="*/ 381000 w 2647353"/>
                    <a:gd name="connsiteY28" fmla="*/ 954208 h 1074858"/>
                    <a:gd name="connsiteX29" fmla="*/ 333375 w 2647353"/>
                    <a:gd name="connsiteY29" fmla="*/ 973258 h 1074858"/>
                    <a:gd name="connsiteX30" fmla="*/ 292100 w 2647353"/>
                    <a:gd name="connsiteY30" fmla="*/ 957383 h 1074858"/>
                    <a:gd name="connsiteX31" fmla="*/ 149225 w 2647353"/>
                    <a:gd name="connsiteY31" fmla="*/ 957383 h 1074858"/>
                    <a:gd name="connsiteX32" fmla="*/ 0 w 2647353"/>
                    <a:gd name="connsiteY32" fmla="*/ 966908 h 1074858"/>
                    <a:gd name="connsiteX0" fmla="*/ 2618581 w 2647353"/>
                    <a:gd name="connsiteY0" fmla="*/ 154108 h 1074858"/>
                    <a:gd name="connsiteX1" fmla="*/ 2642394 w 2647353"/>
                    <a:gd name="connsiteY1" fmla="*/ 44570 h 1074858"/>
                    <a:gd name="connsiteX2" fmla="*/ 2647155 w 2647353"/>
                    <a:gd name="connsiteY2" fmla="*/ 1707 h 1074858"/>
                    <a:gd name="connsiteX3" fmla="*/ 2637631 w 2647353"/>
                    <a:gd name="connsiteY3" fmla="*/ 101720 h 1074858"/>
                    <a:gd name="connsiteX4" fmla="*/ 2575718 w 2647353"/>
                    <a:gd name="connsiteY4" fmla="*/ 289839 h 1074858"/>
                    <a:gd name="connsiteX5" fmla="*/ 2573337 w 2647353"/>
                    <a:gd name="connsiteY5" fmla="*/ 399377 h 1074858"/>
                    <a:gd name="connsiteX6" fmla="*/ 2582862 w 2647353"/>
                    <a:gd name="connsiteY6" fmla="*/ 439858 h 1074858"/>
                    <a:gd name="connsiteX7" fmla="*/ 2504280 w 2647353"/>
                    <a:gd name="connsiteY7" fmla="*/ 525583 h 1074858"/>
                    <a:gd name="connsiteX8" fmla="*/ 2404268 w 2647353"/>
                    <a:gd name="connsiteY8" fmla="*/ 677983 h 1074858"/>
                    <a:gd name="connsiteX9" fmla="*/ 2349499 w 2647353"/>
                    <a:gd name="connsiteY9" fmla="*/ 737514 h 1074858"/>
                    <a:gd name="connsiteX10" fmla="*/ 2244725 w 2647353"/>
                    <a:gd name="connsiteY10" fmla="*/ 868483 h 1074858"/>
                    <a:gd name="connsiteX11" fmla="*/ 2114550 w 2647353"/>
                    <a:gd name="connsiteY11" fmla="*/ 928808 h 1074858"/>
                    <a:gd name="connsiteX12" fmla="*/ 2054225 w 2647353"/>
                    <a:gd name="connsiteY12" fmla="*/ 941508 h 1074858"/>
                    <a:gd name="connsiteX13" fmla="*/ 1984375 w 2647353"/>
                    <a:gd name="connsiteY13" fmla="*/ 979608 h 1074858"/>
                    <a:gd name="connsiteX14" fmla="*/ 1962150 w 2647353"/>
                    <a:gd name="connsiteY14" fmla="*/ 1017708 h 1074858"/>
                    <a:gd name="connsiteX15" fmla="*/ 1914525 w 2647353"/>
                    <a:gd name="connsiteY15" fmla="*/ 1074858 h 1074858"/>
                    <a:gd name="connsiteX16" fmla="*/ 1774825 w 2647353"/>
                    <a:gd name="connsiteY16" fmla="*/ 1058983 h 1074858"/>
                    <a:gd name="connsiteX17" fmla="*/ 1200150 w 2647353"/>
                    <a:gd name="connsiteY17" fmla="*/ 430333 h 1074858"/>
                    <a:gd name="connsiteX18" fmla="*/ 1031875 w 2647353"/>
                    <a:gd name="connsiteY18" fmla="*/ 903408 h 1074858"/>
                    <a:gd name="connsiteX19" fmla="*/ 987425 w 2647353"/>
                    <a:gd name="connsiteY19" fmla="*/ 909758 h 1074858"/>
                    <a:gd name="connsiteX20" fmla="*/ 946150 w 2647353"/>
                    <a:gd name="connsiteY20" fmla="*/ 893883 h 1074858"/>
                    <a:gd name="connsiteX21" fmla="*/ 828675 w 2647353"/>
                    <a:gd name="connsiteY21" fmla="*/ 906583 h 1074858"/>
                    <a:gd name="connsiteX22" fmla="*/ 765175 w 2647353"/>
                    <a:gd name="connsiteY22" fmla="*/ 893883 h 1074858"/>
                    <a:gd name="connsiteX23" fmla="*/ 606425 w 2647353"/>
                    <a:gd name="connsiteY23" fmla="*/ 912933 h 1074858"/>
                    <a:gd name="connsiteX24" fmla="*/ 488950 w 2647353"/>
                    <a:gd name="connsiteY24" fmla="*/ 947858 h 1074858"/>
                    <a:gd name="connsiteX25" fmla="*/ 469900 w 2647353"/>
                    <a:gd name="connsiteY25" fmla="*/ 973258 h 1074858"/>
                    <a:gd name="connsiteX26" fmla="*/ 431800 w 2647353"/>
                    <a:gd name="connsiteY26" fmla="*/ 957383 h 1074858"/>
                    <a:gd name="connsiteX27" fmla="*/ 381000 w 2647353"/>
                    <a:gd name="connsiteY27" fmla="*/ 954208 h 1074858"/>
                    <a:gd name="connsiteX28" fmla="*/ 333375 w 2647353"/>
                    <a:gd name="connsiteY28" fmla="*/ 973258 h 1074858"/>
                    <a:gd name="connsiteX29" fmla="*/ 292100 w 2647353"/>
                    <a:gd name="connsiteY29" fmla="*/ 957383 h 1074858"/>
                    <a:gd name="connsiteX30" fmla="*/ 149225 w 2647353"/>
                    <a:gd name="connsiteY30" fmla="*/ 957383 h 1074858"/>
                    <a:gd name="connsiteX31" fmla="*/ 0 w 2647353"/>
                    <a:gd name="connsiteY31" fmla="*/ 966908 h 1074858"/>
                    <a:gd name="connsiteX0" fmla="*/ 2618581 w 2647353"/>
                    <a:gd name="connsiteY0" fmla="*/ 154108 h 1074858"/>
                    <a:gd name="connsiteX1" fmla="*/ 2642394 w 2647353"/>
                    <a:gd name="connsiteY1" fmla="*/ 44570 h 1074858"/>
                    <a:gd name="connsiteX2" fmla="*/ 2647155 w 2647353"/>
                    <a:gd name="connsiteY2" fmla="*/ 1707 h 1074858"/>
                    <a:gd name="connsiteX3" fmla="*/ 2637631 w 2647353"/>
                    <a:gd name="connsiteY3" fmla="*/ 101720 h 1074858"/>
                    <a:gd name="connsiteX4" fmla="*/ 2575718 w 2647353"/>
                    <a:gd name="connsiteY4" fmla="*/ 289839 h 1074858"/>
                    <a:gd name="connsiteX5" fmla="*/ 2573337 w 2647353"/>
                    <a:gd name="connsiteY5" fmla="*/ 399377 h 1074858"/>
                    <a:gd name="connsiteX6" fmla="*/ 2582862 w 2647353"/>
                    <a:gd name="connsiteY6" fmla="*/ 439858 h 1074858"/>
                    <a:gd name="connsiteX7" fmla="*/ 2504280 w 2647353"/>
                    <a:gd name="connsiteY7" fmla="*/ 525583 h 1074858"/>
                    <a:gd name="connsiteX8" fmla="*/ 2404268 w 2647353"/>
                    <a:gd name="connsiteY8" fmla="*/ 677983 h 1074858"/>
                    <a:gd name="connsiteX9" fmla="*/ 2349499 w 2647353"/>
                    <a:gd name="connsiteY9" fmla="*/ 737514 h 1074858"/>
                    <a:gd name="connsiteX10" fmla="*/ 2244725 w 2647353"/>
                    <a:gd name="connsiteY10" fmla="*/ 868483 h 1074858"/>
                    <a:gd name="connsiteX11" fmla="*/ 2114550 w 2647353"/>
                    <a:gd name="connsiteY11" fmla="*/ 928808 h 1074858"/>
                    <a:gd name="connsiteX12" fmla="*/ 2054225 w 2647353"/>
                    <a:gd name="connsiteY12" fmla="*/ 941508 h 1074858"/>
                    <a:gd name="connsiteX13" fmla="*/ 1984375 w 2647353"/>
                    <a:gd name="connsiteY13" fmla="*/ 979608 h 1074858"/>
                    <a:gd name="connsiteX14" fmla="*/ 1962150 w 2647353"/>
                    <a:gd name="connsiteY14" fmla="*/ 1017708 h 1074858"/>
                    <a:gd name="connsiteX15" fmla="*/ 1914525 w 2647353"/>
                    <a:gd name="connsiteY15" fmla="*/ 1074858 h 1074858"/>
                    <a:gd name="connsiteX16" fmla="*/ 1200150 w 2647353"/>
                    <a:gd name="connsiteY16" fmla="*/ 430333 h 1074858"/>
                    <a:gd name="connsiteX17" fmla="*/ 1031875 w 2647353"/>
                    <a:gd name="connsiteY17" fmla="*/ 903408 h 1074858"/>
                    <a:gd name="connsiteX18" fmla="*/ 987425 w 2647353"/>
                    <a:gd name="connsiteY18" fmla="*/ 909758 h 1074858"/>
                    <a:gd name="connsiteX19" fmla="*/ 946150 w 2647353"/>
                    <a:gd name="connsiteY19" fmla="*/ 893883 h 1074858"/>
                    <a:gd name="connsiteX20" fmla="*/ 828675 w 2647353"/>
                    <a:gd name="connsiteY20" fmla="*/ 906583 h 1074858"/>
                    <a:gd name="connsiteX21" fmla="*/ 765175 w 2647353"/>
                    <a:gd name="connsiteY21" fmla="*/ 893883 h 1074858"/>
                    <a:gd name="connsiteX22" fmla="*/ 606425 w 2647353"/>
                    <a:gd name="connsiteY22" fmla="*/ 912933 h 1074858"/>
                    <a:gd name="connsiteX23" fmla="*/ 488950 w 2647353"/>
                    <a:gd name="connsiteY23" fmla="*/ 947858 h 1074858"/>
                    <a:gd name="connsiteX24" fmla="*/ 469900 w 2647353"/>
                    <a:gd name="connsiteY24" fmla="*/ 973258 h 1074858"/>
                    <a:gd name="connsiteX25" fmla="*/ 431800 w 2647353"/>
                    <a:gd name="connsiteY25" fmla="*/ 957383 h 1074858"/>
                    <a:gd name="connsiteX26" fmla="*/ 381000 w 2647353"/>
                    <a:gd name="connsiteY26" fmla="*/ 954208 h 1074858"/>
                    <a:gd name="connsiteX27" fmla="*/ 333375 w 2647353"/>
                    <a:gd name="connsiteY27" fmla="*/ 973258 h 1074858"/>
                    <a:gd name="connsiteX28" fmla="*/ 292100 w 2647353"/>
                    <a:gd name="connsiteY28" fmla="*/ 957383 h 1074858"/>
                    <a:gd name="connsiteX29" fmla="*/ 149225 w 2647353"/>
                    <a:gd name="connsiteY29" fmla="*/ 957383 h 1074858"/>
                    <a:gd name="connsiteX30" fmla="*/ 0 w 2647353"/>
                    <a:gd name="connsiteY30" fmla="*/ 966908 h 1074858"/>
                    <a:gd name="connsiteX0" fmla="*/ 2618581 w 2647353"/>
                    <a:gd name="connsiteY0" fmla="*/ 154108 h 1017708"/>
                    <a:gd name="connsiteX1" fmla="*/ 2642394 w 2647353"/>
                    <a:gd name="connsiteY1" fmla="*/ 44570 h 1017708"/>
                    <a:gd name="connsiteX2" fmla="*/ 2647155 w 2647353"/>
                    <a:gd name="connsiteY2" fmla="*/ 1707 h 1017708"/>
                    <a:gd name="connsiteX3" fmla="*/ 2637631 w 2647353"/>
                    <a:gd name="connsiteY3" fmla="*/ 101720 h 1017708"/>
                    <a:gd name="connsiteX4" fmla="*/ 2575718 w 2647353"/>
                    <a:gd name="connsiteY4" fmla="*/ 289839 h 1017708"/>
                    <a:gd name="connsiteX5" fmla="*/ 2573337 w 2647353"/>
                    <a:gd name="connsiteY5" fmla="*/ 399377 h 1017708"/>
                    <a:gd name="connsiteX6" fmla="*/ 2582862 w 2647353"/>
                    <a:gd name="connsiteY6" fmla="*/ 439858 h 1017708"/>
                    <a:gd name="connsiteX7" fmla="*/ 2504280 w 2647353"/>
                    <a:gd name="connsiteY7" fmla="*/ 525583 h 1017708"/>
                    <a:gd name="connsiteX8" fmla="*/ 2404268 w 2647353"/>
                    <a:gd name="connsiteY8" fmla="*/ 677983 h 1017708"/>
                    <a:gd name="connsiteX9" fmla="*/ 2349499 w 2647353"/>
                    <a:gd name="connsiteY9" fmla="*/ 737514 h 1017708"/>
                    <a:gd name="connsiteX10" fmla="*/ 2244725 w 2647353"/>
                    <a:gd name="connsiteY10" fmla="*/ 868483 h 1017708"/>
                    <a:gd name="connsiteX11" fmla="*/ 2114550 w 2647353"/>
                    <a:gd name="connsiteY11" fmla="*/ 928808 h 1017708"/>
                    <a:gd name="connsiteX12" fmla="*/ 2054225 w 2647353"/>
                    <a:gd name="connsiteY12" fmla="*/ 941508 h 1017708"/>
                    <a:gd name="connsiteX13" fmla="*/ 1984375 w 2647353"/>
                    <a:gd name="connsiteY13" fmla="*/ 979608 h 1017708"/>
                    <a:gd name="connsiteX14" fmla="*/ 1962150 w 2647353"/>
                    <a:gd name="connsiteY14" fmla="*/ 1017708 h 1017708"/>
                    <a:gd name="connsiteX15" fmla="*/ 1200150 w 2647353"/>
                    <a:gd name="connsiteY15" fmla="*/ 430333 h 1017708"/>
                    <a:gd name="connsiteX16" fmla="*/ 1031875 w 2647353"/>
                    <a:gd name="connsiteY16" fmla="*/ 903408 h 1017708"/>
                    <a:gd name="connsiteX17" fmla="*/ 987425 w 2647353"/>
                    <a:gd name="connsiteY17" fmla="*/ 909758 h 1017708"/>
                    <a:gd name="connsiteX18" fmla="*/ 946150 w 2647353"/>
                    <a:gd name="connsiteY18" fmla="*/ 893883 h 1017708"/>
                    <a:gd name="connsiteX19" fmla="*/ 828675 w 2647353"/>
                    <a:gd name="connsiteY19" fmla="*/ 906583 h 1017708"/>
                    <a:gd name="connsiteX20" fmla="*/ 765175 w 2647353"/>
                    <a:gd name="connsiteY20" fmla="*/ 893883 h 1017708"/>
                    <a:gd name="connsiteX21" fmla="*/ 606425 w 2647353"/>
                    <a:gd name="connsiteY21" fmla="*/ 912933 h 1017708"/>
                    <a:gd name="connsiteX22" fmla="*/ 488950 w 2647353"/>
                    <a:gd name="connsiteY22" fmla="*/ 947858 h 1017708"/>
                    <a:gd name="connsiteX23" fmla="*/ 469900 w 2647353"/>
                    <a:gd name="connsiteY23" fmla="*/ 973258 h 1017708"/>
                    <a:gd name="connsiteX24" fmla="*/ 431800 w 2647353"/>
                    <a:gd name="connsiteY24" fmla="*/ 957383 h 1017708"/>
                    <a:gd name="connsiteX25" fmla="*/ 381000 w 2647353"/>
                    <a:gd name="connsiteY25" fmla="*/ 954208 h 1017708"/>
                    <a:gd name="connsiteX26" fmla="*/ 333375 w 2647353"/>
                    <a:gd name="connsiteY26" fmla="*/ 973258 h 1017708"/>
                    <a:gd name="connsiteX27" fmla="*/ 292100 w 2647353"/>
                    <a:gd name="connsiteY27" fmla="*/ 957383 h 1017708"/>
                    <a:gd name="connsiteX28" fmla="*/ 149225 w 2647353"/>
                    <a:gd name="connsiteY28" fmla="*/ 957383 h 1017708"/>
                    <a:gd name="connsiteX29" fmla="*/ 0 w 2647353"/>
                    <a:gd name="connsiteY29" fmla="*/ 966908 h 1017708"/>
                    <a:gd name="connsiteX0" fmla="*/ 2618581 w 2647353"/>
                    <a:gd name="connsiteY0" fmla="*/ 154108 h 979608"/>
                    <a:gd name="connsiteX1" fmla="*/ 2642394 w 2647353"/>
                    <a:gd name="connsiteY1" fmla="*/ 44570 h 979608"/>
                    <a:gd name="connsiteX2" fmla="*/ 2647155 w 2647353"/>
                    <a:gd name="connsiteY2" fmla="*/ 1707 h 979608"/>
                    <a:gd name="connsiteX3" fmla="*/ 2637631 w 2647353"/>
                    <a:gd name="connsiteY3" fmla="*/ 101720 h 979608"/>
                    <a:gd name="connsiteX4" fmla="*/ 2575718 w 2647353"/>
                    <a:gd name="connsiteY4" fmla="*/ 289839 h 979608"/>
                    <a:gd name="connsiteX5" fmla="*/ 2573337 w 2647353"/>
                    <a:gd name="connsiteY5" fmla="*/ 399377 h 979608"/>
                    <a:gd name="connsiteX6" fmla="*/ 2582862 w 2647353"/>
                    <a:gd name="connsiteY6" fmla="*/ 439858 h 979608"/>
                    <a:gd name="connsiteX7" fmla="*/ 2504280 w 2647353"/>
                    <a:gd name="connsiteY7" fmla="*/ 525583 h 979608"/>
                    <a:gd name="connsiteX8" fmla="*/ 2404268 w 2647353"/>
                    <a:gd name="connsiteY8" fmla="*/ 677983 h 979608"/>
                    <a:gd name="connsiteX9" fmla="*/ 2349499 w 2647353"/>
                    <a:gd name="connsiteY9" fmla="*/ 737514 h 979608"/>
                    <a:gd name="connsiteX10" fmla="*/ 2244725 w 2647353"/>
                    <a:gd name="connsiteY10" fmla="*/ 868483 h 979608"/>
                    <a:gd name="connsiteX11" fmla="*/ 2114550 w 2647353"/>
                    <a:gd name="connsiteY11" fmla="*/ 928808 h 979608"/>
                    <a:gd name="connsiteX12" fmla="*/ 2054225 w 2647353"/>
                    <a:gd name="connsiteY12" fmla="*/ 941508 h 979608"/>
                    <a:gd name="connsiteX13" fmla="*/ 1984375 w 2647353"/>
                    <a:gd name="connsiteY13" fmla="*/ 979608 h 979608"/>
                    <a:gd name="connsiteX14" fmla="*/ 1200150 w 2647353"/>
                    <a:gd name="connsiteY14" fmla="*/ 430333 h 979608"/>
                    <a:gd name="connsiteX15" fmla="*/ 1031875 w 2647353"/>
                    <a:gd name="connsiteY15" fmla="*/ 903408 h 979608"/>
                    <a:gd name="connsiteX16" fmla="*/ 987425 w 2647353"/>
                    <a:gd name="connsiteY16" fmla="*/ 909758 h 979608"/>
                    <a:gd name="connsiteX17" fmla="*/ 946150 w 2647353"/>
                    <a:gd name="connsiteY17" fmla="*/ 893883 h 979608"/>
                    <a:gd name="connsiteX18" fmla="*/ 828675 w 2647353"/>
                    <a:gd name="connsiteY18" fmla="*/ 906583 h 979608"/>
                    <a:gd name="connsiteX19" fmla="*/ 765175 w 2647353"/>
                    <a:gd name="connsiteY19" fmla="*/ 893883 h 979608"/>
                    <a:gd name="connsiteX20" fmla="*/ 606425 w 2647353"/>
                    <a:gd name="connsiteY20" fmla="*/ 912933 h 979608"/>
                    <a:gd name="connsiteX21" fmla="*/ 488950 w 2647353"/>
                    <a:gd name="connsiteY21" fmla="*/ 947858 h 979608"/>
                    <a:gd name="connsiteX22" fmla="*/ 469900 w 2647353"/>
                    <a:gd name="connsiteY22" fmla="*/ 973258 h 979608"/>
                    <a:gd name="connsiteX23" fmla="*/ 431800 w 2647353"/>
                    <a:gd name="connsiteY23" fmla="*/ 957383 h 979608"/>
                    <a:gd name="connsiteX24" fmla="*/ 381000 w 2647353"/>
                    <a:gd name="connsiteY24" fmla="*/ 954208 h 979608"/>
                    <a:gd name="connsiteX25" fmla="*/ 333375 w 2647353"/>
                    <a:gd name="connsiteY25" fmla="*/ 973258 h 979608"/>
                    <a:gd name="connsiteX26" fmla="*/ 292100 w 2647353"/>
                    <a:gd name="connsiteY26" fmla="*/ 957383 h 979608"/>
                    <a:gd name="connsiteX27" fmla="*/ 149225 w 2647353"/>
                    <a:gd name="connsiteY27" fmla="*/ 957383 h 979608"/>
                    <a:gd name="connsiteX28" fmla="*/ 0 w 2647353"/>
                    <a:gd name="connsiteY28" fmla="*/ 966908 h 979608"/>
                    <a:gd name="connsiteX0" fmla="*/ 2618581 w 2647353"/>
                    <a:gd name="connsiteY0" fmla="*/ 154108 h 973258"/>
                    <a:gd name="connsiteX1" fmla="*/ 2642394 w 2647353"/>
                    <a:gd name="connsiteY1" fmla="*/ 44570 h 973258"/>
                    <a:gd name="connsiteX2" fmla="*/ 2647155 w 2647353"/>
                    <a:gd name="connsiteY2" fmla="*/ 1707 h 973258"/>
                    <a:gd name="connsiteX3" fmla="*/ 2637631 w 2647353"/>
                    <a:gd name="connsiteY3" fmla="*/ 101720 h 973258"/>
                    <a:gd name="connsiteX4" fmla="*/ 2575718 w 2647353"/>
                    <a:gd name="connsiteY4" fmla="*/ 289839 h 973258"/>
                    <a:gd name="connsiteX5" fmla="*/ 2573337 w 2647353"/>
                    <a:gd name="connsiteY5" fmla="*/ 399377 h 973258"/>
                    <a:gd name="connsiteX6" fmla="*/ 2582862 w 2647353"/>
                    <a:gd name="connsiteY6" fmla="*/ 439858 h 973258"/>
                    <a:gd name="connsiteX7" fmla="*/ 2504280 w 2647353"/>
                    <a:gd name="connsiteY7" fmla="*/ 525583 h 973258"/>
                    <a:gd name="connsiteX8" fmla="*/ 2404268 w 2647353"/>
                    <a:gd name="connsiteY8" fmla="*/ 677983 h 973258"/>
                    <a:gd name="connsiteX9" fmla="*/ 2349499 w 2647353"/>
                    <a:gd name="connsiteY9" fmla="*/ 737514 h 973258"/>
                    <a:gd name="connsiteX10" fmla="*/ 2244725 w 2647353"/>
                    <a:gd name="connsiteY10" fmla="*/ 868483 h 973258"/>
                    <a:gd name="connsiteX11" fmla="*/ 2114550 w 2647353"/>
                    <a:gd name="connsiteY11" fmla="*/ 928808 h 973258"/>
                    <a:gd name="connsiteX12" fmla="*/ 2054225 w 2647353"/>
                    <a:gd name="connsiteY12" fmla="*/ 941508 h 973258"/>
                    <a:gd name="connsiteX13" fmla="*/ 1200150 w 2647353"/>
                    <a:gd name="connsiteY13" fmla="*/ 430333 h 973258"/>
                    <a:gd name="connsiteX14" fmla="*/ 1031875 w 2647353"/>
                    <a:gd name="connsiteY14" fmla="*/ 903408 h 973258"/>
                    <a:gd name="connsiteX15" fmla="*/ 987425 w 2647353"/>
                    <a:gd name="connsiteY15" fmla="*/ 909758 h 973258"/>
                    <a:gd name="connsiteX16" fmla="*/ 946150 w 2647353"/>
                    <a:gd name="connsiteY16" fmla="*/ 893883 h 973258"/>
                    <a:gd name="connsiteX17" fmla="*/ 828675 w 2647353"/>
                    <a:gd name="connsiteY17" fmla="*/ 906583 h 973258"/>
                    <a:gd name="connsiteX18" fmla="*/ 765175 w 2647353"/>
                    <a:gd name="connsiteY18" fmla="*/ 893883 h 973258"/>
                    <a:gd name="connsiteX19" fmla="*/ 606425 w 2647353"/>
                    <a:gd name="connsiteY19" fmla="*/ 912933 h 973258"/>
                    <a:gd name="connsiteX20" fmla="*/ 488950 w 2647353"/>
                    <a:gd name="connsiteY20" fmla="*/ 947858 h 973258"/>
                    <a:gd name="connsiteX21" fmla="*/ 469900 w 2647353"/>
                    <a:gd name="connsiteY21" fmla="*/ 973258 h 973258"/>
                    <a:gd name="connsiteX22" fmla="*/ 431800 w 2647353"/>
                    <a:gd name="connsiteY22" fmla="*/ 957383 h 973258"/>
                    <a:gd name="connsiteX23" fmla="*/ 381000 w 2647353"/>
                    <a:gd name="connsiteY23" fmla="*/ 954208 h 973258"/>
                    <a:gd name="connsiteX24" fmla="*/ 333375 w 2647353"/>
                    <a:gd name="connsiteY24" fmla="*/ 973258 h 973258"/>
                    <a:gd name="connsiteX25" fmla="*/ 292100 w 2647353"/>
                    <a:gd name="connsiteY25" fmla="*/ 957383 h 973258"/>
                    <a:gd name="connsiteX26" fmla="*/ 149225 w 2647353"/>
                    <a:gd name="connsiteY26" fmla="*/ 957383 h 973258"/>
                    <a:gd name="connsiteX27" fmla="*/ 0 w 2647353"/>
                    <a:gd name="connsiteY27" fmla="*/ 966908 h 973258"/>
                    <a:gd name="connsiteX0" fmla="*/ 2618581 w 2647353"/>
                    <a:gd name="connsiteY0" fmla="*/ 154108 h 973258"/>
                    <a:gd name="connsiteX1" fmla="*/ 2642394 w 2647353"/>
                    <a:gd name="connsiteY1" fmla="*/ 44570 h 973258"/>
                    <a:gd name="connsiteX2" fmla="*/ 2647155 w 2647353"/>
                    <a:gd name="connsiteY2" fmla="*/ 1707 h 973258"/>
                    <a:gd name="connsiteX3" fmla="*/ 2637631 w 2647353"/>
                    <a:gd name="connsiteY3" fmla="*/ 101720 h 973258"/>
                    <a:gd name="connsiteX4" fmla="*/ 2575718 w 2647353"/>
                    <a:gd name="connsiteY4" fmla="*/ 289839 h 973258"/>
                    <a:gd name="connsiteX5" fmla="*/ 2573337 w 2647353"/>
                    <a:gd name="connsiteY5" fmla="*/ 399377 h 973258"/>
                    <a:gd name="connsiteX6" fmla="*/ 2582862 w 2647353"/>
                    <a:gd name="connsiteY6" fmla="*/ 439858 h 973258"/>
                    <a:gd name="connsiteX7" fmla="*/ 2504280 w 2647353"/>
                    <a:gd name="connsiteY7" fmla="*/ 525583 h 973258"/>
                    <a:gd name="connsiteX8" fmla="*/ 2404268 w 2647353"/>
                    <a:gd name="connsiteY8" fmla="*/ 677983 h 973258"/>
                    <a:gd name="connsiteX9" fmla="*/ 2349499 w 2647353"/>
                    <a:gd name="connsiteY9" fmla="*/ 737514 h 973258"/>
                    <a:gd name="connsiteX10" fmla="*/ 2244725 w 2647353"/>
                    <a:gd name="connsiteY10" fmla="*/ 868483 h 973258"/>
                    <a:gd name="connsiteX11" fmla="*/ 2114550 w 2647353"/>
                    <a:gd name="connsiteY11" fmla="*/ 928808 h 973258"/>
                    <a:gd name="connsiteX12" fmla="*/ 1200150 w 2647353"/>
                    <a:gd name="connsiteY12" fmla="*/ 430333 h 973258"/>
                    <a:gd name="connsiteX13" fmla="*/ 1031875 w 2647353"/>
                    <a:gd name="connsiteY13" fmla="*/ 903408 h 973258"/>
                    <a:gd name="connsiteX14" fmla="*/ 987425 w 2647353"/>
                    <a:gd name="connsiteY14" fmla="*/ 909758 h 973258"/>
                    <a:gd name="connsiteX15" fmla="*/ 946150 w 2647353"/>
                    <a:gd name="connsiteY15" fmla="*/ 893883 h 973258"/>
                    <a:gd name="connsiteX16" fmla="*/ 828675 w 2647353"/>
                    <a:gd name="connsiteY16" fmla="*/ 906583 h 973258"/>
                    <a:gd name="connsiteX17" fmla="*/ 765175 w 2647353"/>
                    <a:gd name="connsiteY17" fmla="*/ 893883 h 973258"/>
                    <a:gd name="connsiteX18" fmla="*/ 606425 w 2647353"/>
                    <a:gd name="connsiteY18" fmla="*/ 912933 h 973258"/>
                    <a:gd name="connsiteX19" fmla="*/ 488950 w 2647353"/>
                    <a:gd name="connsiteY19" fmla="*/ 947858 h 973258"/>
                    <a:gd name="connsiteX20" fmla="*/ 469900 w 2647353"/>
                    <a:gd name="connsiteY20" fmla="*/ 973258 h 973258"/>
                    <a:gd name="connsiteX21" fmla="*/ 431800 w 2647353"/>
                    <a:gd name="connsiteY21" fmla="*/ 957383 h 973258"/>
                    <a:gd name="connsiteX22" fmla="*/ 381000 w 2647353"/>
                    <a:gd name="connsiteY22" fmla="*/ 954208 h 973258"/>
                    <a:gd name="connsiteX23" fmla="*/ 333375 w 2647353"/>
                    <a:gd name="connsiteY23" fmla="*/ 973258 h 973258"/>
                    <a:gd name="connsiteX24" fmla="*/ 292100 w 2647353"/>
                    <a:gd name="connsiteY24" fmla="*/ 957383 h 973258"/>
                    <a:gd name="connsiteX25" fmla="*/ 149225 w 2647353"/>
                    <a:gd name="connsiteY25" fmla="*/ 957383 h 973258"/>
                    <a:gd name="connsiteX26" fmla="*/ 0 w 2647353"/>
                    <a:gd name="connsiteY26" fmla="*/ 966908 h 973258"/>
                    <a:gd name="connsiteX0" fmla="*/ 2618581 w 2647353"/>
                    <a:gd name="connsiteY0" fmla="*/ 154108 h 973258"/>
                    <a:gd name="connsiteX1" fmla="*/ 2642394 w 2647353"/>
                    <a:gd name="connsiteY1" fmla="*/ 44570 h 973258"/>
                    <a:gd name="connsiteX2" fmla="*/ 2647155 w 2647353"/>
                    <a:gd name="connsiteY2" fmla="*/ 1707 h 973258"/>
                    <a:gd name="connsiteX3" fmla="*/ 2637631 w 2647353"/>
                    <a:gd name="connsiteY3" fmla="*/ 101720 h 973258"/>
                    <a:gd name="connsiteX4" fmla="*/ 2575718 w 2647353"/>
                    <a:gd name="connsiteY4" fmla="*/ 289839 h 973258"/>
                    <a:gd name="connsiteX5" fmla="*/ 2573337 w 2647353"/>
                    <a:gd name="connsiteY5" fmla="*/ 399377 h 973258"/>
                    <a:gd name="connsiteX6" fmla="*/ 2582862 w 2647353"/>
                    <a:gd name="connsiteY6" fmla="*/ 439858 h 973258"/>
                    <a:gd name="connsiteX7" fmla="*/ 2504280 w 2647353"/>
                    <a:gd name="connsiteY7" fmla="*/ 525583 h 973258"/>
                    <a:gd name="connsiteX8" fmla="*/ 2404268 w 2647353"/>
                    <a:gd name="connsiteY8" fmla="*/ 677983 h 973258"/>
                    <a:gd name="connsiteX9" fmla="*/ 2349499 w 2647353"/>
                    <a:gd name="connsiteY9" fmla="*/ 737514 h 973258"/>
                    <a:gd name="connsiteX10" fmla="*/ 2244725 w 2647353"/>
                    <a:gd name="connsiteY10" fmla="*/ 868483 h 973258"/>
                    <a:gd name="connsiteX11" fmla="*/ 1200150 w 2647353"/>
                    <a:gd name="connsiteY11" fmla="*/ 430333 h 973258"/>
                    <a:gd name="connsiteX12" fmla="*/ 1031875 w 2647353"/>
                    <a:gd name="connsiteY12" fmla="*/ 903408 h 973258"/>
                    <a:gd name="connsiteX13" fmla="*/ 987425 w 2647353"/>
                    <a:gd name="connsiteY13" fmla="*/ 909758 h 973258"/>
                    <a:gd name="connsiteX14" fmla="*/ 946150 w 2647353"/>
                    <a:gd name="connsiteY14" fmla="*/ 893883 h 973258"/>
                    <a:gd name="connsiteX15" fmla="*/ 828675 w 2647353"/>
                    <a:gd name="connsiteY15" fmla="*/ 906583 h 973258"/>
                    <a:gd name="connsiteX16" fmla="*/ 765175 w 2647353"/>
                    <a:gd name="connsiteY16" fmla="*/ 893883 h 973258"/>
                    <a:gd name="connsiteX17" fmla="*/ 606425 w 2647353"/>
                    <a:gd name="connsiteY17" fmla="*/ 912933 h 973258"/>
                    <a:gd name="connsiteX18" fmla="*/ 488950 w 2647353"/>
                    <a:gd name="connsiteY18" fmla="*/ 947858 h 973258"/>
                    <a:gd name="connsiteX19" fmla="*/ 469900 w 2647353"/>
                    <a:gd name="connsiteY19" fmla="*/ 973258 h 973258"/>
                    <a:gd name="connsiteX20" fmla="*/ 431800 w 2647353"/>
                    <a:gd name="connsiteY20" fmla="*/ 957383 h 973258"/>
                    <a:gd name="connsiteX21" fmla="*/ 381000 w 2647353"/>
                    <a:gd name="connsiteY21" fmla="*/ 954208 h 973258"/>
                    <a:gd name="connsiteX22" fmla="*/ 333375 w 2647353"/>
                    <a:gd name="connsiteY22" fmla="*/ 973258 h 973258"/>
                    <a:gd name="connsiteX23" fmla="*/ 292100 w 2647353"/>
                    <a:gd name="connsiteY23" fmla="*/ 957383 h 973258"/>
                    <a:gd name="connsiteX24" fmla="*/ 149225 w 2647353"/>
                    <a:gd name="connsiteY24" fmla="*/ 957383 h 973258"/>
                    <a:gd name="connsiteX25" fmla="*/ 0 w 2647353"/>
                    <a:gd name="connsiteY25" fmla="*/ 966908 h 973258"/>
                    <a:gd name="connsiteX0" fmla="*/ 2618581 w 2647353"/>
                    <a:gd name="connsiteY0" fmla="*/ 154108 h 973258"/>
                    <a:gd name="connsiteX1" fmla="*/ 2642394 w 2647353"/>
                    <a:gd name="connsiteY1" fmla="*/ 44570 h 973258"/>
                    <a:gd name="connsiteX2" fmla="*/ 2647155 w 2647353"/>
                    <a:gd name="connsiteY2" fmla="*/ 1707 h 973258"/>
                    <a:gd name="connsiteX3" fmla="*/ 2637631 w 2647353"/>
                    <a:gd name="connsiteY3" fmla="*/ 101720 h 973258"/>
                    <a:gd name="connsiteX4" fmla="*/ 2575718 w 2647353"/>
                    <a:gd name="connsiteY4" fmla="*/ 289839 h 973258"/>
                    <a:gd name="connsiteX5" fmla="*/ 2573337 w 2647353"/>
                    <a:gd name="connsiteY5" fmla="*/ 399377 h 973258"/>
                    <a:gd name="connsiteX6" fmla="*/ 2582862 w 2647353"/>
                    <a:gd name="connsiteY6" fmla="*/ 439858 h 973258"/>
                    <a:gd name="connsiteX7" fmla="*/ 2504280 w 2647353"/>
                    <a:gd name="connsiteY7" fmla="*/ 525583 h 973258"/>
                    <a:gd name="connsiteX8" fmla="*/ 2404268 w 2647353"/>
                    <a:gd name="connsiteY8" fmla="*/ 677983 h 973258"/>
                    <a:gd name="connsiteX9" fmla="*/ 2349499 w 2647353"/>
                    <a:gd name="connsiteY9" fmla="*/ 737514 h 973258"/>
                    <a:gd name="connsiteX10" fmla="*/ 1200150 w 2647353"/>
                    <a:gd name="connsiteY10" fmla="*/ 430333 h 973258"/>
                    <a:gd name="connsiteX11" fmla="*/ 1031875 w 2647353"/>
                    <a:gd name="connsiteY11" fmla="*/ 903408 h 973258"/>
                    <a:gd name="connsiteX12" fmla="*/ 987425 w 2647353"/>
                    <a:gd name="connsiteY12" fmla="*/ 909758 h 973258"/>
                    <a:gd name="connsiteX13" fmla="*/ 946150 w 2647353"/>
                    <a:gd name="connsiteY13" fmla="*/ 893883 h 973258"/>
                    <a:gd name="connsiteX14" fmla="*/ 828675 w 2647353"/>
                    <a:gd name="connsiteY14" fmla="*/ 906583 h 973258"/>
                    <a:gd name="connsiteX15" fmla="*/ 765175 w 2647353"/>
                    <a:gd name="connsiteY15" fmla="*/ 893883 h 973258"/>
                    <a:gd name="connsiteX16" fmla="*/ 606425 w 2647353"/>
                    <a:gd name="connsiteY16" fmla="*/ 912933 h 973258"/>
                    <a:gd name="connsiteX17" fmla="*/ 488950 w 2647353"/>
                    <a:gd name="connsiteY17" fmla="*/ 947858 h 973258"/>
                    <a:gd name="connsiteX18" fmla="*/ 469900 w 2647353"/>
                    <a:gd name="connsiteY18" fmla="*/ 973258 h 973258"/>
                    <a:gd name="connsiteX19" fmla="*/ 431800 w 2647353"/>
                    <a:gd name="connsiteY19" fmla="*/ 957383 h 973258"/>
                    <a:gd name="connsiteX20" fmla="*/ 381000 w 2647353"/>
                    <a:gd name="connsiteY20" fmla="*/ 954208 h 973258"/>
                    <a:gd name="connsiteX21" fmla="*/ 333375 w 2647353"/>
                    <a:gd name="connsiteY21" fmla="*/ 973258 h 973258"/>
                    <a:gd name="connsiteX22" fmla="*/ 292100 w 2647353"/>
                    <a:gd name="connsiteY22" fmla="*/ 957383 h 973258"/>
                    <a:gd name="connsiteX23" fmla="*/ 149225 w 2647353"/>
                    <a:gd name="connsiteY23" fmla="*/ 957383 h 973258"/>
                    <a:gd name="connsiteX24" fmla="*/ 0 w 2647353"/>
                    <a:gd name="connsiteY24" fmla="*/ 966908 h 973258"/>
                    <a:gd name="connsiteX0" fmla="*/ 2618581 w 2647353"/>
                    <a:gd name="connsiteY0" fmla="*/ 154108 h 973258"/>
                    <a:gd name="connsiteX1" fmla="*/ 2642394 w 2647353"/>
                    <a:gd name="connsiteY1" fmla="*/ 44570 h 973258"/>
                    <a:gd name="connsiteX2" fmla="*/ 2647155 w 2647353"/>
                    <a:gd name="connsiteY2" fmla="*/ 1707 h 973258"/>
                    <a:gd name="connsiteX3" fmla="*/ 2637631 w 2647353"/>
                    <a:gd name="connsiteY3" fmla="*/ 101720 h 973258"/>
                    <a:gd name="connsiteX4" fmla="*/ 2575718 w 2647353"/>
                    <a:gd name="connsiteY4" fmla="*/ 289839 h 973258"/>
                    <a:gd name="connsiteX5" fmla="*/ 2573337 w 2647353"/>
                    <a:gd name="connsiteY5" fmla="*/ 399377 h 973258"/>
                    <a:gd name="connsiteX6" fmla="*/ 2582862 w 2647353"/>
                    <a:gd name="connsiteY6" fmla="*/ 439858 h 973258"/>
                    <a:gd name="connsiteX7" fmla="*/ 2504280 w 2647353"/>
                    <a:gd name="connsiteY7" fmla="*/ 525583 h 973258"/>
                    <a:gd name="connsiteX8" fmla="*/ 2404268 w 2647353"/>
                    <a:gd name="connsiteY8" fmla="*/ 677983 h 973258"/>
                    <a:gd name="connsiteX9" fmla="*/ 1200150 w 2647353"/>
                    <a:gd name="connsiteY9" fmla="*/ 430333 h 973258"/>
                    <a:gd name="connsiteX10" fmla="*/ 1031875 w 2647353"/>
                    <a:gd name="connsiteY10" fmla="*/ 903408 h 973258"/>
                    <a:gd name="connsiteX11" fmla="*/ 987425 w 2647353"/>
                    <a:gd name="connsiteY11" fmla="*/ 909758 h 973258"/>
                    <a:gd name="connsiteX12" fmla="*/ 946150 w 2647353"/>
                    <a:gd name="connsiteY12" fmla="*/ 893883 h 973258"/>
                    <a:gd name="connsiteX13" fmla="*/ 828675 w 2647353"/>
                    <a:gd name="connsiteY13" fmla="*/ 906583 h 973258"/>
                    <a:gd name="connsiteX14" fmla="*/ 765175 w 2647353"/>
                    <a:gd name="connsiteY14" fmla="*/ 893883 h 973258"/>
                    <a:gd name="connsiteX15" fmla="*/ 606425 w 2647353"/>
                    <a:gd name="connsiteY15" fmla="*/ 912933 h 973258"/>
                    <a:gd name="connsiteX16" fmla="*/ 488950 w 2647353"/>
                    <a:gd name="connsiteY16" fmla="*/ 947858 h 973258"/>
                    <a:gd name="connsiteX17" fmla="*/ 469900 w 2647353"/>
                    <a:gd name="connsiteY17" fmla="*/ 973258 h 973258"/>
                    <a:gd name="connsiteX18" fmla="*/ 431800 w 2647353"/>
                    <a:gd name="connsiteY18" fmla="*/ 957383 h 973258"/>
                    <a:gd name="connsiteX19" fmla="*/ 381000 w 2647353"/>
                    <a:gd name="connsiteY19" fmla="*/ 954208 h 973258"/>
                    <a:gd name="connsiteX20" fmla="*/ 333375 w 2647353"/>
                    <a:gd name="connsiteY20" fmla="*/ 973258 h 973258"/>
                    <a:gd name="connsiteX21" fmla="*/ 292100 w 2647353"/>
                    <a:gd name="connsiteY21" fmla="*/ 957383 h 973258"/>
                    <a:gd name="connsiteX22" fmla="*/ 149225 w 2647353"/>
                    <a:gd name="connsiteY22" fmla="*/ 957383 h 973258"/>
                    <a:gd name="connsiteX23" fmla="*/ 0 w 2647353"/>
                    <a:gd name="connsiteY23" fmla="*/ 966908 h 973258"/>
                    <a:gd name="connsiteX0" fmla="*/ 2618581 w 2647353"/>
                    <a:gd name="connsiteY0" fmla="*/ 154108 h 973258"/>
                    <a:gd name="connsiteX1" fmla="*/ 2642394 w 2647353"/>
                    <a:gd name="connsiteY1" fmla="*/ 44570 h 973258"/>
                    <a:gd name="connsiteX2" fmla="*/ 2647155 w 2647353"/>
                    <a:gd name="connsiteY2" fmla="*/ 1707 h 973258"/>
                    <a:gd name="connsiteX3" fmla="*/ 2637631 w 2647353"/>
                    <a:gd name="connsiteY3" fmla="*/ 101720 h 973258"/>
                    <a:gd name="connsiteX4" fmla="*/ 2575718 w 2647353"/>
                    <a:gd name="connsiteY4" fmla="*/ 289839 h 973258"/>
                    <a:gd name="connsiteX5" fmla="*/ 2573337 w 2647353"/>
                    <a:gd name="connsiteY5" fmla="*/ 399377 h 973258"/>
                    <a:gd name="connsiteX6" fmla="*/ 2582862 w 2647353"/>
                    <a:gd name="connsiteY6" fmla="*/ 439858 h 973258"/>
                    <a:gd name="connsiteX7" fmla="*/ 2504280 w 2647353"/>
                    <a:gd name="connsiteY7" fmla="*/ 525583 h 973258"/>
                    <a:gd name="connsiteX8" fmla="*/ 1200150 w 2647353"/>
                    <a:gd name="connsiteY8" fmla="*/ 430333 h 973258"/>
                    <a:gd name="connsiteX9" fmla="*/ 1031875 w 2647353"/>
                    <a:gd name="connsiteY9" fmla="*/ 903408 h 973258"/>
                    <a:gd name="connsiteX10" fmla="*/ 987425 w 2647353"/>
                    <a:gd name="connsiteY10" fmla="*/ 909758 h 973258"/>
                    <a:gd name="connsiteX11" fmla="*/ 946150 w 2647353"/>
                    <a:gd name="connsiteY11" fmla="*/ 893883 h 973258"/>
                    <a:gd name="connsiteX12" fmla="*/ 828675 w 2647353"/>
                    <a:gd name="connsiteY12" fmla="*/ 906583 h 973258"/>
                    <a:gd name="connsiteX13" fmla="*/ 765175 w 2647353"/>
                    <a:gd name="connsiteY13" fmla="*/ 893883 h 973258"/>
                    <a:gd name="connsiteX14" fmla="*/ 606425 w 2647353"/>
                    <a:gd name="connsiteY14" fmla="*/ 912933 h 973258"/>
                    <a:gd name="connsiteX15" fmla="*/ 488950 w 2647353"/>
                    <a:gd name="connsiteY15" fmla="*/ 947858 h 973258"/>
                    <a:gd name="connsiteX16" fmla="*/ 469900 w 2647353"/>
                    <a:gd name="connsiteY16" fmla="*/ 973258 h 973258"/>
                    <a:gd name="connsiteX17" fmla="*/ 431800 w 2647353"/>
                    <a:gd name="connsiteY17" fmla="*/ 957383 h 973258"/>
                    <a:gd name="connsiteX18" fmla="*/ 381000 w 2647353"/>
                    <a:gd name="connsiteY18" fmla="*/ 954208 h 973258"/>
                    <a:gd name="connsiteX19" fmla="*/ 333375 w 2647353"/>
                    <a:gd name="connsiteY19" fmla="*/ 973258 h 973258"/>
                    <a:gd name="connsiteX20" fmla="*/ 292100 w 2647353"/>
                    <a:gd name="connsiteY20" fmla="*/ 957383 h 973258"/>
                    <a:gd name="connsiteX21" fmla="*/ 149225 w 2647353"/>
                    <a:gd name="connsiteY21" fmla="*/ 957383 h 973258"/>
                    <a:gd name="connsiteX22" fmla="*/ 0 w 2647353"/>
                    <a:gd name="connsiteY22" fmla="*/ 966908 h 973258"/>
                    <a:gd name="connsiteX0" fmla="*/ 2618581 w 2682082"/>
                    <a:gd name="connsiteY0" fmla="*/ 154108 h 973258"/>
                    <a:gd name="connsiteX1" fmla="*/ 2642394 w 2682082"/>
                    <a:gd name="connsiteY1" fmla="*/ 44570 h 973258"/>
                    <a:gd name="connsiteX2" fmla="*/ 2647155 w 2682082"/>
                    <a:gd name="connsiteY2" fmla="*/ 1707 h 973258"/>
                    <a:gd name="connsiteX3" fmla="*/ 2637631 w 2682082"/>
                    <a:gd name="connsiteY3" fmla="*/ 101720 h 973258"/>
                    <a:gd name="connsiteX4" fmla="*/ 2575718 w 2682082"/>
                    <a:gd name="connsiteY4" fmla="*/ 289839 h 973258"/>
                    <a:gd name="connsiteX5" fmla="*/ 2573337 w 2682082"/>
                    <a:gd name="connsiteY5" fmla="*/ 399377 h 973258"/>
                    <a:gd name="connsiteX6" fmla="*/ 2582862 w 2682082"/>
                    <a:gd name="connsiteY6" fmla="*/ 439858 h 973258"/>
                    <a:gd name="connsiteX7" fmla="*/ 1200150 w 2682082"/>
                    <a:gd name="connsiteY7" fmla="*/ 430333 h 973258"/>
                    <a:gd name="connsiteX8" fmla="*/ 1031875 w 2682082"/>
                    <a:gd name="connsiteY8" fmla="*/ 903408 h 973258"/>
                    <a:gd name="connsiteX9" fmla="*/ 987425 w 2682082"/>
                    <a:gd name="connsiteY9" fmla="*/ 909758 h 973258"/>
                    <a:gd name="connsiteX10" fmla="*/ 946150 w 2682082"/>
                    <a:gd name="connsiteY10" fmla="*/ 893883 h 973258"/>
                    <a:gd name="connsiteX11" fmla="*/ 828675 w 2682082"/>
                    <a:gd name="connsiteY11" fmla="*/ 906583 h 973258"/>
                    <a:gd name="connsiteX12" fmla="*/ 765175 w 2682082"/>
                    <a:gd name="connsiteY12" fmla="*/ 893883 h 973258"/>
                    <a:gd name="connsiteX13" fmla="*/ 606425 w 2682082"/>
                    <a:gd name="connsiteY13" fmla="*/ 912933 h 973258"/>
                    <a:gd name="connsiteX14" fmla="*/ 488950 w 2682082"/>
                    <a:gd name="connsiteY14" fmla="*/ 947858 h 973258"/>
                    <a:gd name="connsiteX15" fmla="*/ 469900 w 2682082"/>
                    <a:gd name="connsiteY15" fmla="*/ 973258 h 973258"/>
                    <a:gd name="connsiteX16" fmla="*/ 431800 w 2682082"/>
                    <a:gd name="connsiteY16" fmla="*/ 957383 h 973258"/>
                    <a:gd name="connsiteX17" fmla="*/ 381000 w 2682082"/>
                    <a:gd name="connsiteY17" fmla="*/ 954208 h 973258"/>
                    <a:gd name="connsiteX18" fmla="*/ 333375 w 2682082"/>
                    <a:gd name="connsiteY18" fmla="*/ 973258 h 973258"/>
                    <a:gd name="connsiteX19" fmla="*/ 292100 w 2682082"/>
                    <a:gd name="connsiteY19" fmla="*/ 957383 h 973258"/>
                    <a:gd name="connsiteX20" fmla="*/ 149225 w 2682082"/>
                    <a:gd name="connsiteY20" fmla="*/ 957383 h 973258"/>
                    <a:gd name="connsiteX21" fmla="*/ 0 w 2682082"/>
                    <a:gd name="connsiteY21" fmla="*/ 966908 h 973258"/>
                    <a:gd name="connsiteX0" fmla="*/ 2618581 w 2674005"/>
                    <a:gd name="connsiteY0" fmla="*/ 154108 h 973258"/>
                    <a:gd name="connsiteX1" fmla="*/ 2642394 w 2674005"/>
                    <a:gd name="connsiteY1" fmla="*/ 44570 h 973258"/>
                    <a:gd name="connsiteX2" fmla="*/ 2647155 w 2674005"/>
                    <a:gd name="connsiteY2" fmla="*/ 1707 h 973258"/>
                    <a:gd name="connsiteX3" fmla="*/ 2637631 w 2674005"/>
                    <a:gd name="connsiteY3" fmla="*/ 101720 h 973258"/>
                    <a:gd name="connsiteX4" fmla="*/ 2575718 w 2674005"/>
                    <a:gd name="connsiteY4" fmla="*/ 289839 h 973258"/>
                    <a:gd name="connsiteX5" fmla="*/ 2573337 w 2674005"/>
                    <a:gd name="connsiteY5" fmla="*/ 399377 h 973258"/>
                    <a:gd name="connsiteX6" fmla="*/ 1200150 w 2674005"/>
                    <a:gd name="connsiteY6" fmla="*/ 430333 h 973258"/>
                    <a:gd name="connsiteX7" fmla="*/ 1031875 w 2674005"/>
                    <a:gd name="connsiteY7" fmla="*/ 903408 h 973258"/>
                    <a:gd name="connsiteX8" fmla="*/ 987425 w 2674005"/>
                    <a:gd name="connsiteY8" fmla="*/ 909758 h 973258"/>
                    <a:gd name="connsiteX9" fmla="*/ 946150 w 2674005"/>
                    <a:gd name="connsiteY9" fmla="*/ 893883 h 973258"/>
                    <a:gd name="connsiteX10" fmla="*/ 828675 w 2674005"/>
                    <a:gd name="connsiteY10" fmla="*/ 906583 h 973258"/>
                    <a:gd name="connsiteX11" fmla="*/ 765175 w 2674005"/>
                    <a:gd name="connsiteY11" fmla="*/ 893883 h 973258"/>
                    <a:gd name="connsiteX12" fmla="*/ 606425 w 2674005"/>
                    <a:gd name="connsiteY12" fmla="*/ 912933 h 973258"/>
                    <a:gd name="connsiteX13" fmla="*/ 488950 w 2674005"/>
                    <a:gd name="connsiteY13" fmla="*/ 947858 h 973258"/>
                    <a:gd name="connsiteX14" fmla="*/ 469900 w 2674005"/>
                    <a:gd name="connsiteY14" fmla="*/ 973258 h 973258"/>
                    <a:gd name="connsiteX15" fmla="*/ 431800 w 2674005"/>
                    <a:gd name="connsiteY15" fmla="*/ 957383 h 973258"/>
                    <a:gd name="connsiteX16" fmla="*/ 381000 w 2674005"/>
                    <a:gd name="connsiteY16" fmla="*/ 954208 h 973258"/>
                    <a:gd name="connsiteX17" fmla="*/ 333375 w 2674005"/>
                    <a:gd name="connsiteY17" fmla="*/ 973258 h 973258"/>
                    <a:gd name="connsiteX18" fmla="*/ 292100 w 2674005"/>
                    <a:gd name="connsiteY18" fmla="*/ 957383 h 973258"/>
                    <a:gd name="connsiteX19" fmla="*/ 149225 w 2674005"/>
                    <a:gd name="connsiteY19" fmla="*/ 957383 h 973258"/>
                    <a:gd name="connsiteX20" fmla="*/ 0 w 2674005"/>
                    <a:gd name="connsiteY20" fmla="*/ 966908 h 973258"/>
                    <a:gd name="connsiteX0" fmla="*/ 2618581 w 2697837"/>
                    <a:gd name="connsiteY0" fmla="*/ 154108 h 973258"/>
                    <a:gd name="connsiteX1" fmla="*/ 2642394 w 2697837"/>
                    <a:gd name="connsiteY1" fmla="*/ 44570 h 973258"/>
                    <a:gd name="connsiteX2" fmla="*/ 2647155 w 2697837"/>
                    <a:gd name="connsiteY2" fmla="*/ 1707 h 973258"/>
                    <a:gd name="connsiteX3" fmla="*/ 2637631 w 2697837"/>
                    <a:gd name="connsiteY3" fmla="*/ 101720 h 973258"/>
                    <a:gd name="connsiteX4" fmla="*/ 2575718 w 2697837"/>
                    <a:gd name="connsiteY4" fmla="*/ 289839 h 973258"/>
                    <a:gd name="connsiteX5" fmla="*/ 1200150 w 2697837"/>
                    <a:gd name="connsiteY5" fmla="*/ 430333 h 973258"/>
                    <a:gd name="connsiteX6" fmla="*/ 1031875 w 2697837"/>
                    <a:gd name="connsiteY6" fmla="*/ 903408 h 973258"/>
                    <a:gd name="connsiteX7" fmla="*/ 987425 w 2697837"/>
                    <a:gd name="connsiteY7" fmla="*/ 909758 h 973258"/>
                    <a:gd name="connsiteX8" fmla="*/ 946150 w 2697837"/>
                    <a:gd name="connsiteY8" fmla="*/ 893883 h 973258"/>
                    <a:gd name="connsiteX9" fmla="*/ 828675 w 2697837"/>
                    <a:gd name="connsiteY9" fmla="*/ 906583 h 973258"/>
                    <a:gd name="connsiteX10" fmla="*/ 765175 w 2697837"/>
                    <a:gd name="connsiteY10" fmla="*/ 893883 h 973258"/>
                    <a:gd name="connsiteX11" fmla="*/ 606425 w 2697837"/>
                    <a:gd name="connsiteY11" fmla="*/ 912933 h 973258"/>
                    <a:gd name="connsiteX12" fmla="*/ 488950 w 2697837"/>
                    <a:gd name="connsiteY12" fmla="*/ 947858 h 973258"/>
                    <a:gd name="connsiteX13" fmla="*/ 469900 w 2697837"/>
                    <a:gd name="connsiteY13" fmla="*/ 973258 h 973258"/>
                    <a:gd name="connsiteX14" fmla="*/ 431800 w 2697837"/>
                    <a:gd name="connsiteY14" fmla="*/ 957383 h 973258"/>
                    <a:gd name="connsiteX15" fmla="*/ 381000 w 2697837"/>
                    <a:gd name="connsiteY15" fmla="*/ 954208 h 973258"/>
                    <a:gd name="connsiteX16" fmla="*/ 333375 w 2697837"/>
                    <a:gd name="connsiteY16" fmla="*/ 973258 h 973258"/>
                    <a:gd name="connsiteX17" fmla="*/ 292100 w 2697837"/>
                    <a:gd name="connsiteY17" fmla="*/ 957383 h 973258"/>
                    <a:gd name="connsiteX18" fmla="*/ 149225 w 2697837"/>
                    <a:gd name="connsiteY18" fmla="*/ 957383 h 973258"/>
                    <a:gd name="connsiteX19" fmla="*/ 0 w 2697837"/>
                    <a:gd name="connsiteY19" fmla="*/ 966908 h 973258"/>
                    <a:gd name="connsiteX0" fmla="*/ 2618581 w 2747159"/>
                    <a:gd name="connsiteY0" fmla="*/ 154108 h 973258"/>
                    <a:gd name="connsiteX1" fmla="*/ 2642394 w 2747159"/>
                    <a:gd name="connsiteY1" fmla="*/ 44570 h 973258"/>
                    <a:gd name="connsiteX2" fmla="*/ 2647155 w 2747159"/>
                    <a:gd name="connsiteY2" fmla="*/ 1707 h 973258"/>
                    <a:gd name="connsiteX3" fmla="*/ 2637631 w 2747159"/>
                    <a:gd name="connsiteY3" fmla="*/ 101720 h 973258"/>
                    <a:gd name="connsiteX4" fmla="*/ 1200150 w 2747159"/>
                    <a:gd name="connsiteY4" fmla="*/ 430333 h 973258"/>
                    <a:gd name="connsiteX5" fmla="*/ 1031875 w 2747159"/>
                    <a:gd name="connsiteY5" fmla="*/ 903408 h 973258"/>
                    <a:gd name="connsiteX6" fmla="*/ 987425 w 2747159"/>
                    <a:gd name="connsiteY6" fmla="*/ 909758 h 973258"/>
                    <a:gd name="connsiteX7" fmla="*/ 946150 w 2747159"/>
                    <a:gd name="connsiteY7" fmla="*/ 893883 h 973258"/>
                    <a:gd name="connsiteX8" fmla="*/ 828675 w 2747159"/>
                    <a:gd name="connsiteY8" fmla="*/ 906583 h 973258"/>
                    <a:gd name="connsiteX9" fmla="*/ 765175 w 2747159"/>
                    <a:gd name="connsiteY9" fmla="*/ 893883 h 973258"/>
                    <a:gd name="connsiteX10" fmla="*/ 606425 w 2747159"/>
                    <a:gd name="connsiteY10" fmla="*/ 912933 h 973258"/>
                    <a:gd name="connsiteX11" fmla="*/ 488950 w 2747159"/>
                    <a:gd name="connsiteY11" fmla="*/ 947858 h 973258"/>
                    <a:gd name="connsiteX12" fmla="*/ 469900 w 2747159"/>
                    <a:gd name="connsiteY12" fmla="*/ 973258 h 973258"/>
                    <a:gd name="connsiteX13" fmla="*/ 431800 w 2747159"/>
                    <a:gd name="connsiteY13" fmla="*/ 957383 h 973258"/>
                    <a:gd name="connsiteX14" fmla="*/ 381000 w 2747159"/>
                    <a:gd name="connsiteY14" fmla="*/ 954208 h 973258"/>
                    <a:gd name="connsiteX15" fmla="*/ 333375 w 2747159"/>
                    <a:gd name="connsiteY15" fmla="*/ 973258 h 973258"/>
                    <a:gd name="connsiteX16" fmla="*/ 292100 w 2747159"/>
                    <a:gd name="connsiteY16" fmla="*/ 957383 h 973258"/>
                    <a:gd name="connsiteX17" fmla="*/ 149225 w 2747159"/>
                    <a:gd name="connsiteY17" fmla="*/ 957383 h 973258"/>
                    <a:gd name="connsiteX18" fmla="*/ 0 w 2747159"/>
                    <a:gd name="connsiteY18" fmla="*/ 966908 h 973258"/>
                    <a:gd name="connsiteX0" fmla="*/ 2618581 w 2753637"/>
                    <a:gd name="connsiteY0" fmla="*/ 175655 h 994805"/>
                    <a:gd name="connsiteX1" fmla="*/ 2642394 w 2753637"/>
                    <a:gd name="connsiteY1" fmla="*/ 66117 h 994805"/>
                    <a:gd name="connsiteX2" fmla="*/ 2647155 w 2753637"/>
                    <a:gd name="connsiteY2" fmla="*/ 23254 h 994805"/>
                    <a:gd name="connsiteX3" fmla="*/ 1200150 w 2753637"/>
                    <a:gd name="connsiteY3" fmla="*/ 451880 h 994805"/>
                    <a:gd name="connsiteX4" fmla="*/ 1031875 w 2753637"/>
                    <a:gd name="connsiteY4" fmla="*/ 924955 h 994805"/>
                    <a:gd name="connsiteX5" fmla="*/ 987425 w 2753637"/>
                    <a:gd name="connsiteY5" fmla="*/ 931305 h 994805"/>
                    <a:gd name="connsiteX6" fmla="*/ 946150 w 2753637"/>
                    <a:gd name="connsiteY6" fmla="*/ 915430 h 994805"/>
                    <a:gd name="connsiteX7" fmla="*/ 828675 w 2753637"/>
                    <a:gd name="connsiteY7" fmla="*/ 928130 h 994805"/>
                    <a:gd name="connsiteX8" fmla="*/ 765175 w 2753637"/>
                    <a:gd name="connsiteY8" fmla="*/ 915430 h 994805"/>
                    <a:gd name="connsiteX9" fmla="*/ 606425 w 2753637"/>
                    <a:gd name="connsiteY9" fmla="*/ 934480 h 994805"/>
                    <a:gd name="connsiteX10" fmla="*/ 488950 w 2753637"/>
                    <a:gd name="connsiteY10" fmla="*/ 969405 h 994805"/>
                    <a:gd name="connsiteX11" fmla="*/ 469900 w 2753637"/>
                    <a:gd name="connsiteY11" fmla="*/ 994805 h 994805"/>
                    <a:gd name="connsiteX12" fmla="*/ 431800 w 2753637"/>
                    <a:gd name="connsiteY12" fmla="*/ 978930 h 994805"/>
                    <a:gd name="connsiteX13" fmla="*/ 381000 w 2753637"/>
                    <a:gd name="connsiteY13" fmla="*/ 975755 h 994805"/>
                    <a:gd name="connsiteX14" fmla="*/ 333375 w 2753637"/>
                    <a:gd name="connsiteY14" fmla="*/ 994805 h 994805"/>
                    <a:gd name="connsiteX15" fmla="*/ 292100 w 2753637"/>
                    <a:gd name="connsiteY15" fmla="*/ 978930 h 994805"/>
                    <a:gd name="connsiteX16" fmla="*/ 149225 w 2753637"/>
                    <a:gd name="connsiteY16" fmla="*/ 978930 h 994805"/>
                    <a:gd name="connsiteX17" fmla="*/ 0 w 2753637"/>
                    <a:gd name="connsiteY17" fmla="*/ 988455 h 994805"/>
                    <a:gd name="connsiteX0" fmla="*/ 2618581 w 2643475"/>
                    <a:gd name="connsiteY0" fmla="*/ 112143 h 931293"/>
                    <a:gd name="connsiteX1" fmla="*/ 2642394 w 2643475"/>
                    <a:gd name="connsiteY1" fmla="*/ 2605 h 931293"/>
                    <a:gd name="connsiteX2" fmla="*/ 1200150 w 2643475"/>
                    <a:gd name="connsiteY2" fmla="*/ 388368 h 931293"/>
                    <a:gd name="connsiteX3" fmla="*/ 1031875 w 2643475"/>
                    <a:gd name="connsiteY3" fmla="*/ 861443 h 931293"/>
                    <a:gd name="connsiteX4" fmla="*/ 987425 w 2643475"/>
                    <a:gd name="connsiteY4" fmla="*/ 867793 h 931293"/>
                    <a:gd name="connsiteX5" fmla="*/ 946150 w 2643475"/>
                    <a:gd name="connsiteY5" fmla="*/ 851918 h 931293"/>
                    <a:gd name="connsiteX6" fmla="*/ 828675 w 2643475"/>
                    <a:gd name="connsiteY6" fmla="*/ 864618 h 931293"/>
                    <a:gd name="connsiteX7" fmla="*/ 765175 w 2643475"/>
                    <a:gd name="connsiteY7" fmla="*/ 851918 h 931293"/>
                    <a:gd name="connsiteX8" fmla="*/ 606425 w 2643475"/>
                    <a:gd name="connsiteY8" fmla="*/ 870968 h 931293"/>
                    <a:gd name="connsiteX9" fmla="*/ 488950 w 2643475"/>
                    <a:gd name="connsiteY9" fmla="*/ 905893 h 931293"/>
                    <a:gd name="connsiteX10" fmla="*/ 469900 w 2643475"/>
                    <a:gd name="connsiteY10" fmla="*/ 931293 h 931293"/>
                    <a:gd name="connsiteX11" fmla="*/ 431800 w 2643475"/>
                    <a:gd name="connsiteY11" fmla="*/ 915418 h 931293"/>
                    <a:gd name="connsiteX12" fmla="*/ 381000 w 2643475"/>
                    <a:gd name="connsiteY12" fmla="*/ 912243 h 931293"/>
                    <a:gd name="connsiteX13" fmla="*/ 333375 w 2643475"/>
                    <a:gd name="connsiteY13" fmla="*/ 931293 h 931293"/>
                    <a:gd name="connsiteX14" fmla="*/ 292100 w 2643475"/>
                    <a:gd name="connsiteY14" fmla="*/ 915418 h 931293"/>
                    <a:gd name="connsiteX15" fmla="*/ 149225 w 2643475"/>
                    <a:gd name="connsiteY15" fmla="*/ 915418 h 931293"/>
                    <a:gd name="connsiteX16" fmla="*/ 0 w 2643475"/>
                    <a:gd name="connsiteY16" fmla="*/ 924943 h 931293"/>
                    <a:gd name="connsiteX0" fmla="*/ 2618581 w 2618581"/>
                    <a:gd name="connsiteY0" fmla="*/ 0 h 819150"/>
                    <a:gd name="connsiteX1" fmla="*/ 1200150 w 2618581"/>
                    <a:gd name="connsiteY1" fmla="*/ 276225 h 819150"/>
                    <a:gd name="connsiteX2" fmla="*/ 1031875 w 2618581"/>
                    <a:gd name="connsiteY2" fmla="*/ 749300 h 819150"/>
                    <a:gd name="connsiteX3" fmla="*/ 987425 w 2618581"/>
                    <a:gd name="connsiteY3" fmla="*/ 755650 h 819150"/>
                    <a:gd name="connsiteX4" fmla="*/ 946150 w 2618581"/>
                    <a:gd name="connsiteY4" fmla="*/ 739775 h 819150"/>
                    <a:gd name="connsiteX5" fmla="*/ 828675 w 2618581"/>
                    <a:gd name="connsiteY5" fmla="*/ 752475 h 819150"/>
                    <a:gd name="connsiteX6" fmla="*/ 765175 w 2618581"/>
                    <a:gd name="connsiteY6" fmla="*/ 739775 h 819150"/>
                    <a:gd name="connsiteX7" fmla="*/ 606425 w 2618581"/>
                    <a:gd name="connsiteY7" fmla="*/ 758825 h 819150"/>
                    <a:gd name="connsiteX8" fmla="*/ 488950 w 2618581"/>
                    <a:gd name="connsiteY8" fmla="*/ 793750 h 819150"/>
                    <a:gd name="connsiteX9" fmla="*/ 469900 w 2618581"/>
                    <a:gd name="connsiteY9" fmla="*/ 819150 h 819150"/>
                    <a:gd name="connsiteX10" fmla="*/ 431800 w 2618581"/>
                    <a:gd name="connsiteY10" fmla="*/ 803275 h 819150"/>
                    <a:gd name="connsiteX11" fmla="*/ 381000 w 2618581"/>
                    <a:gd name="connsiteY11" fmla="*/ 800100 h 819150"/>
                    <a:gd name="connsiteX12" fmla="*/ 333375 w 2618581"/>
                    <a:gd name="connsiteY12" fmla="*/ 819150 h 819150"/>
                    <a:gd name="connsiteX13" fmla="*/ 292100 w 2618581"/>
                    <a:gd name="connsiteY13" fmla="*/ 803275 h 819150"/>
                    <a:gd name="connsiteX14" fmla="*/ 149225 w 2618581"/>
                    <a:gd name="connsiteY14" fmla="*/ 803275 h 819150"/>
                    <a:gd name="connsiteX15" fmla="*/ 0 w 2618581"/>
                    <a:gd name="connsiteY15" fmla="*/ 812800 h 819150"/>
                    <a:gd name="connsiteX0" fmla="*/ 1200150 w 1200150"/>
                    <a:gd name="connsiteY0" fmla="*/ 0 h 542925"/>
                    <a:gd name="connsiteX1" fmla="*/ 1031875 w 1200150"/>
                    <a:gd name="connsiteY1" fmla="*/ 473075 h 542925"/>
                    <a:gd name="connsiteX2" fmla="*/ 987425 w 1200150"/>
                    <a:gd name="connsiteY2" fmla="*/ 479425 h 542925"/>
                    <a:gd name="connsiteX3" fmla="*/ 946150 w 1200150"/>
                    <a:gd name="connsiteY3" fmla="*/ 463550 h 542925"/>
                    <a:gd name="connsiteX4" fmla="*/ 828675 w 1200150"/>
                    <a:gd name="connsiteY4" fmla="*/ 476250 h 542925"/>
                    <a:gd name="connsiteX5" fmla="*/ 765175 w 1200150"/>
                    <a:gd name="connsiteY5" fmla="*/ 463550 h 542925"/>
                    <a:gd name="connsiteX6" fmla="*/ 606425 w 1200150"/>
                    <a:gd name="connsiteY6" fmla="*/ 482600 h 542925"/>
                    <a:gd name="connsiteX7" fmla="*/ 488950 w 1200150"/>
                    <a:gd name="connsiteY7" fmla="*/ 517525 h 542925"/>
                    <a:gd name="connsiteX8" fmla="*/ 469900 w 1200150"/>
                    <a:gd name="connsiteY8" fmla="*/ 542925 h 542925"/>
                    <a:gd name="connsiteX9" fmla="*/ 431800 w 1200150"/>
                    <a:gd name="connsiteY9" fmla="*/ 527050 h 542925"/>
                    <a:gd name="connsiteX10" fmla="*/ 381000 w 1200150"/>
                    <a:gd name="connsiteY10" fmla="*/ 523875 h 542925"/>
                    <a:gd name="connsiteX11" fmla="*/ 333375 w 1200150"/>
                    <a:gd name="connsiteY11" fmla="*/ 542925 h 542925"/>
                    <a:gd name="connsiteX12" fmla="*/ 292100 w 1200150"/>
                    <a:gd name="connsiteY12" fmla="*/ 527050 h 542925"/>
                    <a:gd name="connsiteX13" fmla="*/ 149225 w 1200150"/>
                    <a:gd name="connsiteY13" fmla="*/ 527050 h 542925"/>
                    <a:gd name="connsiteX14" fmla="*/ 0 w 1200150"/>
                    <a:gd name="connsiteY14" fmla="*/ 536575 h 542925"/>
                    <a:gd name="connsiteX0" fmla="*/ 1016000 w 1031875"/>
                    <a:gd name="connsiteY0" fmla="*/ 0 h 511175"/>
                    <a:gd name="connsiteX1" fmla="*/ 1031875 w 1031875"/>
                    <a:gd name="connsiteY1" fmla="*/ 441325 h 511175"/>
                    <a:gd name="connsiteX2" fmla="*/ 987425 w 1031875"/>
                    <a:gd name="connsiteY2" fmla="*/ 447675 h 511175"/>
                    <a:gd name="connsiteX3" fmla="*/ 946150 w 1031875"/>
                    <a:gd name="connsiteY3" fmla="*/ 431800 h 511175"/>
                    <a:gd name="connsiteX4" fmla="*/ 828675 w 1031875"/>
                    <a:gd name="connsiteY4" fmla="*/ 444500 h 511175"/>
                    <a:gd name="connsiteX5" fmla="*/ 765175 w 1031875"/>
                    <a:gd name="connsiteY5" fmla="*/ 431800 h 511175"/>
                    <a:gd name="connsiteX6" fmla="*/ 606425 w 1031875"/>
                    <a:gd name="connsiteY6" fmla="*/ 450850 h 511175"/>
                    <a:gd name="connsiteX7" fmla="*/ 488950 w 1031875"/>
                    <a:gd name="connsiteY7" fmla="*/ 485775 h 511175"/>
                    <a:gd name="connsiteX8" fmla="*/ 469900 w 1031875"/>
                    <a:gd name="connsiteY8" fmla="*/ 511175 h 511175"/>
                    <a:gd name="connsiteX9" fmla="*/ 431800 w 1031875"/>
                    <a:gd name="connsiteY9" fmla="*/ 495300 h 511175"/>
                    <a:gd name="connsiteX10" fmla="*/ 381000 w 1031875"/>
                    <a:gd name="connsiteY10" fmla="*/ 492125 h 511175"/>
                    <a:gd name="connsiteX11" fmla="*/ 333375 w 1031875"/>
                    <a:gd name="connsiteY11" fmla="*/ 511175 h 511175"/>
                    <a:gd name="connsiteX12" fmla="*/ 292100 w 1031875"/>
                    <a:gd name="connsiteY12" fmla="*/ 495300 h 511175"/>
                    <a:gd name="connsiteX13" fmla="*/ 149225 w 1031875"/>
                    <a:gd name="connsiteY13" fmla="*/ 495300 h 511175"/>
                    <a:gd name="connsiteX14" fmla="*/ 0 w 1031875"/>
                    <a:gd name="connsiteY14" fmla="*/ 504825 h 511175"/>
                    <a:gd name="connsiteX0" fmla="*/ 1200150 w 1200150"/>
                    <a:gd name="connsiteY0" fmla="*/ 0 h 530225"/>
                    <a:gd name="connsiteX1" fmla="*/ 1031875 w 1200150"/>
                    <a:gd name="connsiteY1" fmla="*/ 460375 h 530225"/>
                    <a:gd name="connsiteX2" fmla="*/ 987425 w 1200150"/>
                    <a:gd name="connsiteY2" fmla="*/ 466725 h 530225"/>
                    <a:gd name="connsiteX3" fmla="*/ 946150 w 1200150"/>
                    <a:gd name="connsiteY3" fmla="*/ 450850 h 530225"/>
                    <a:gd name="connsiteX4" fmla="*/ 828675 w 1200150"/>
                    <a:gd name="connsiteY4" fmla="*/ 463550 h 530225"/>
                    <a:gd name="connsiteX5" fmla="*/ 765175 w 1200150"/>
                    <a:gd name="connsiteY5" fmla="*/ 450850 h 530225"/>
                    <a:gd name="connsiteX6" fmla="*/ 606425 w 1200150"/>
                    <a:gd name="connsiteY6" fmla="*/ 469900 h 530225"/>
                    <a:gd name="connsiteX7" fmla="*/ 488950 w 1200150"/>
                    <a:gd name="connsiteY7" fmla="*/ 504825 h 530225"/>
                    <a:gd name="connsiteX8" fmla="*/ 469900 w 1200150"/>
                    <a:gd name="connsiteY8" fmla="*/ 530225 h 530225"/>
                    <a:gd name="connsiteX9" fmla="*/ 431800 w 1200150"/>
                    <a:gd name="connsiteY9" fmla="*/ 514350 h 530225"/>
                    <a:gd name="connsiteX10" fmla="*/ 381000 w 1200150"/>
                    <a:gd name="connsiteY10" fmla="*/ 511175 h 530225"/>
                    <a:gd name="connsiteX11" fmla="*/ 333375 w 1200150"/>
                    <a:gd name="connsiteY11" fmla="*/ 530225 h 530225"/>
                    <a:gd name="connsiteX12" fmla="*/ 292100 w 1200150"/>
                    <a:gd name="connsiteY12" fmla="*/ 514350 h 530225"/>
                    <a:gd name="connsiteX13" fmla="*/ 149225 w 1200150"/>
                    <a:gd name="connsiteY13" fmla="*/ 514350 h 530225"/>
                    <a:gd name="connsiteX14" fmla="*/ 0 w 1200150"/>
                    <a:gd name="connsiteY14" fmla="*/ 523875 h 530225"/>
                    <a:gd name="connsiteX0" fmla="*/ 1200150 w 1200150"/>
                    <a:gd name="connsiteY0" fmla="*/ 0 h 530225"/>
                    <a:gd name="connsiteX1" fmla="*/ 1149350 w 1200150"/>
                    <a:gd name="connsiteY1" fmla="*/ 66674 h 530225"/>
                    <a:gd name="connsiteX2" fmla="*/ 1031875 w 1200150"/>
                    <a:gd name="connsiteY2" fmla="*/ 460375 h 530225"/>
                    <a:gd name="connsiteX3" fmla="*/ 987425 w 1200150"/>
                    <a:gd name="connsiteY3" fmla="*/ 466725 h 530225"/>
                    <a:gd name="connsiteX4" fmla="*/ 946150 w 1200150"/>
                    <a:gd name="connsiteY4" fmla="*/ 450850 h 530225"/>
                    <a:gd name="connsiteX5" fmla="*/ 828675 w 1200150"/>
                    <a:gd name="connsiteY5" fmla="*/ 463550 h 530225"/>
                    <a:gd name="connsiteX6" fmla="*/ 765175 w 1200150"/>
                    <a:gd name="connsiteY6" fmla="*/ 450850 h 530225"/>
                    <a:gd name="connsiteX7" fmla="*/ 606425 w 1200150"/>
                    <a:gd name="connsiteY7" fmla="*/ 469900 h 530225"/>
                    <a:gd name="connsiteX8" fmla="*/ 488950 w 1200150"/>
                    <a:gd name="connsiteY8" fmla="*/ 504825 h 530225"/>
                    <a:gd name="connsiteX9" fmla="*/ 469900 w 1200150"/>
                    <a:gd name="connsiteY9" fmla="*/ 530225 h 530225"/>
                    <a:gd name="connsiteX10" fmla="*/ 431800 w 1200150"/>
                    <a:gd name="connsiteY10" fmla="*/ 514350 h 530225"/>
                    <a:gd name="connsiteX11" fmla="*/ 381000 w 1200150"/>
                    <a:gd name="connsiteY11" fmla="*/ 511175 h 530225"/>
                    <a:gd name="connsiteX12" fmla="*/ 333375 w 1200150"/>
                    <a:gd name="connsiteY12" fmla="*/ 530225 h 530225"/>
                    <a:gd name="connsiteX13" fmla="*/ 292100 w 1200150"/>
                    <a:gd name="connsiteY13" fmla="*/ 514350 h 530225"/>
                    <a:gd name="connsiteX14" fmla="*/ 149225 w 1200150"/>
                    <a:gd name="connsiteY14" fmla="*/ 514350 h 530225"/>
                    <a:gd name="connsiteX15" fmla="*/ 0 w 1200150"/>
                    <a:gd name="connsiteY15" fmla="*/ 523875 h 530225"/>
                    <a:gd name="connsiteX0" fmla="*/ 1200150 w 1200150"/>
                    <a:gd name="connsiteY0" fmla="*/ 0 h 530225"/>
                    <a:gd name="connsiteX1" fmla="*/ 1149350 w 1200150"/>
                    <a:gd name="connsiteY1" fmla="*/ 66674 h 530225"/>
                    <a:gd name="connsiteX2" fmla="*/ 1155700 w 1200150"/>
                    <a:gd name="connsiteY2" fmla="*/ 136524 h 530225"/>
                    <a:gd name="connsiteX3" fmla="*/ 1031875 w 1200150"/>
                    <a:gd name="connsiteY3" fmla="*/ 460375 h 530225"/>
                    <a:gd name="connsiteX4" fmla="*/ 987425 w 1200150"/>
                    <a:gd name="connsiteY4" fmla="*/ 466725 h 530225"/>
                    <a:gd name="connsiteX5" fmla="*/ 946150 w 1200150"/>
                    <a:gd name="connsiteY5" fmla="*/ 450850 h 530225"/>
                    <a:gd name="connsiteX6" fmla="*/ 828675 w 1200150"/>
                    <a:gd name="connsiteY6" fmla="*/ 463550 h 530225"/>
                    <a:gd name="connsiteX7" fmla="*/ 765175 w 1200150"/>
                    <a:gd name="connsiteY7" fmla="*/ 450850 h 530225"/>
                    <a:gd name="connsiteX8" fmla="*/ 606425 w 1200150"/>
                    <a:gd name="connsiteY8" fmla="*/ 469900 h 530225"/>
                    <a:gd name="connsiteX9" fmla="*/ 488950 w 1200150"/>
                    <a:gd name="connsiteY9" fmla="*/ 504825 h 530225"/>
                    <a:gd name="connsiteX10" fmla="*/ 469900 w 1200150"/>
                    <a:gd name="connsiteY10" fmla="*/ 530225 h 530225"/>
                    <a:gd name="connsiteX11" fmla="*/ 431800 w 1200150"/>
                    <a:gd name="connsiteY11" fmla="*/ 514350 h 530225"/>
                    <a:gd name="connsiteX12" fmla="*/ 381000 w 1200150"/>
                    <a:gd name="connsiteY12" fmla="*/ 511175 h 530225"/>
                    <a:gd name="connsiteX13" fmla="*/ 333375 w 1200150"/>
                    <a:gd name="connsiteY13" fmla="*/ 530225 h 530225"/>
                    <a:gd name="connsiteX14" fmla="*/ 292100 w 1200150"/>
                    <a:gd name="connsiteY14" fmla="*/ 514350 h 530225"/>
                    <a:gd name="connsiteX15" fmla="*/ 149225 w 1200150"/>
                    <a:gd name="connsiteY15" fmla="*/ 514350 h 530225"/>
                    <a:gd name="connsiteX16" fmla="*/ 0 w 1200150"/>
                    <a:gd name="connsiteY16" fmla="*/ 523875 h 530225"/>
                    <a:gd name="connsiteX0" fmla="*/ 1200150 w 1200150"/>
                    <a:gd name="connsiteY0" fmla="*/ 0 h 530225"/>
                    <a:gd name="connsiteX1" fmla="*/ 1149350 w 1200150"/>
                    <a:gd name="connsiteY1" fmla="*/ 66674 h 530225"/>
                    <a:gd name="connsiteX2" fmla="*/ 1155700 w 1200150"/>
                    <a:gd name="connsiteY2" fmla="*/ 136524 h 530225"/>
                    <a:gd name="connsiteX3" fmla="*/ 1152525 w 1200150"/>
                    <a:gd name="connsiteY3" fmla="*/ 212724 h 530225"/>
                    <a:gd name="connsiteX4" fmla="*/ 1031875 w 1200150"/>
                    <a:gd name="connsiteY4" fmla="*/ 460375 h 530225"/>
                    <a:gd name="connsiteX5" fmla="*/ 987425 w 1200150"/>
                    <a:gd name="connsiteY5" fmla="*/ 466725 h 530225"/>
                    <a:gd name="connsiteX6" fmla="*/ 946150 w 1200150"/>
                    <a:gd name="connsiteY6" fmla="*/ 450850 h 530225"/>
                    <a:gd name="connsiteX7" fmla="*/ 828675 w 1200150"/>
                    <a:gd name="connsiteY7" fmla="*/ 463550 h 530225"/>
                    <a:gd name="connsiteX8" fmla="*/ 765175 w 1200150"/>
                    <a:gd name="connsiteY8" fmla="*/ 450850 h 530225"/>
                    <a:gd name="connsiteX9" fmla="*/ 606425 w 1200150"/>
                    <a:gd name="connsiteY9" fmla="*/ 469900 h 530225"/>
                    <a:gd name="connsiteX10" fmla="*/ 488950 w 1200150"/>
                    <a:gd name="connsiteY10" fmla="*/ 504825 h 530225"/>
                    <a:gd name="connsiteX11" fmla="*/ 469900 w 1200150"/>
                    <a:gd name="connsiteY11" fmla="*/ 530225 h 530225"/>
                    <a:gd name="connsiteX12" fmla="*/ 431800 w 1200150"/>
                    <a:gd name="connsiteY12" fmla="*/ 514350 h 530225"/>
                    <a:gd name="connsiteX13" fmla="*/ 381000 w 1200150"/>
                    <a:gd name="connsiteY13" fmla="*/ 511175 h 530225"/>
                    <a:gd name="connsiteX14" fmla="*/ 333375 w 1200150"/>
                    <a:gd name="connsiteY14" fmla="*/ 530225 h 530225"/>
                    <a:gd name="connsiteX15" fmla="*/ 292100 w 1200150"/>
                    <a:gd name="connsiteY15" fmla="*/ 514350 h 530225"/>
                    <a:gd name="connsiteX16" fmla="*/ 149225 w 1200150"/>
                    <a:gd name="connsiteY16" fmla="*/ 514350 h 530225"/>
                    <a:gd name="connsiteX17" fmla="*/ 0 w 1200150"/>
                    <a:gd name="connsiteY17" fmla="*/ 523875 h 530225"/>
                    <a:gd name="connsiteX0" fmla="*/ 1200150 w 1200150"/>
                    <a:gd name="connsiteY0" fmla="*/ 0 h 530225"/>
                    <a:gd name="connsiteX1" fmla="*/ 1149350 w 1200150"/>
                    <a:gd name="connsiteY1" fmla="*/ 66674 h 530225"/>
                    <a:gd name="connsiteX2" fmla="*/ 1155700 w 1200150"/>
                    <a:gd name="connsiteY2" fmla="*/ 136524 h 530225"/>
                    <a:gd name="connsiteX3" fmla="*/ 1152525 w 1200150"/>
                    <a:gd name="connsiteY3" fmla="*/ 212724 h 530225"/>
                    <a:gd name="connsiteX4" fmla="*/ 1155700 w 1200150"/>
                    <a:gd name="connsiteY4" fmla="*/ 247649 h 530225"/>
                    <a:gd name="connsiteX5" fmla="*/ 1031875 w 1200150"/>
                    <a:gd name="connsiteY5" fmla="*/ 460375 h 530225"/>
                    <a:gd name="connsiteX6" fmla="*/ 987425 w 1200150"/>
                    <a:gd name="connsiteY6" fmla="*/ 466725 h 530225"/>
                    <a:gd name="connsiteX7" fmla="*/ 946150 w 1200150"/>
                    <a:gd name="connsiteY7" fmla="*/ 450850 h 530225"/>
                    <a:gd name="connsiteX8" fmla="*/ 828675 w 1200150"/>
                    <a:gd name="connsiteY8" fmla="*/ 463550 h 530225"/>
                    <a:gd name="connsiteX9" fmla="*/ 765175 w 1200150"/>
                    <a:gd name="connsiteY9" fmla="*/ 450850 h 530225"/>
                    <a:gd name="connsiteX10" fmla="*/ 606425 w 1200150"/>
                    <a:gd name="connsiteY10" fmla="*/ 469900 h 530225"/>
                    <a:gd name="connsiteX11" fmla="*/ 488950 w 1200150"/>
                    <a:gd name="connsiteY11" fmla="*/ 504825 h 530225"/>
                    <a:gd name="connsiteX12" fmla="*/ 469900 w 1200150"/>
                    <a:gd name="connsiteY12" fmla="*/ 530225 h 530225"/>
                    <a:gd name="connsiteX13" fmla="*/ 431800 w 1200150"/>
                    <a:gd name="connsiteY13" fmla="*/ 514350 h 530225"/>
                    <a:gd name="connsiteX14" fmla="*/ 381000 w 1200150"/>
                    <a:gd name="connsiteY14" fmla="*/ 511175 h 530225"/>
                    <a:gd name="connsiteX15" fmla="*/ 333375 w 1200150"/>
                    <a:gd name="connsiteY15" fmla="*/ 530225 h 530225"/>
                    <a:gd name="connsiteX16" fmla="*/ 292100 w 1200150"/>
                    <a:gd name="connsiteY16" fmla="*/ 514350 h 530225"/>
                    <a:gd name="connsiteX17" fmla="*/ 149225 w 1200150"/>
                    <a:gd name="connsiteY17" fmla="*/ 514350 h 530225"/>
                    <a:gd name="connsiteX18" fmla="*/ 0 w 1200150"/>
                    <a:gd name="connsiteY18" fmla="*/ 523875 h 530225"/>
                    <a:gd name="connsiteX0" fmla="*/ 1200150 w 1200150"/>
                    <a:gd name="connsiteY0" fmla="*/ 0 h 530225"/>
                    <a:gd name="connsiteX1" fmla="*/ 1149350 w 1200150"/>
                    <a:gd name="connsiteY1" fmla="*/ 66674 h 530225"/>
                    <a:gd name="connsiteX2" fmla="*/ 1155700 w 1200150"/>
                    <a:gd name="connsiteY2" fmla="*/ 136524 h 530225"/>
                    <a:gd name="connsiteX3" fmla="*/ 1152525 w 1200150"/>
                    <a:gd name="connsiteY3" fmla="*/ 212724 h 530225"/>
                    <a:gd name="connsiteX4" fmla="*/ 1155700 w 1200150"/>
                    <a:gd name="connsiteY4" fmla="*/ 247649 h 530225"/>
                    <a:gd name="connsiteX5" fmla="*/ 1114425 w 1200150"/>
                    <a:gd name="connsiteY5" fmla="*/ 279399 h 530225"/>
                    <a:gd name="connsiteX6" fmla="*/ 1031875 w 1200150"/>
                    <a:gd name="connsiteY6" fmla="*/ 460375 h 530225"/>
                    <a:gd name="connsiteX7" fmla="*/ 987425 w 1200150"/>
                    <a:gd name="connsiteY7" fmla="*/ 466725 h 530225"/>
                    <a:gd name="connsiteX8" fmla="*/ 946150 w 1200150"/>
                    <a:gd name="connsiteY8" fmla="*/ 450850 h 530225"/>
                    <a:gd name="connsiteX9" fmla="*/ 828675 w 1200150"/>
                    <a:gd name="connsiteY9" fmla="*/ 463550 h 530225"/>
                    <a:gd name="connsiteX10" fmla="*/ 765175 w 1200150"/>
                    <a:gd name="connsiteY10" fmla="*/ 450850 h 530225"/>
                    <a:gd name="connsiteX11" fmla="*/ 606425 w 1200150"/>
                    <a:gd name="connsiteY11" fmla="*/ 469900 h 530225"/>
                    <a:gd name="connsiteX12" fmla="*/ 488950 w 1200150"/>
                    <a:gd name="connsiteY12" fmla="*/ 504825 h 530225"/>
                    <a:gd name="connsiteX13" fmla="*/ 469900 w 1200150"/>
                    <a:gd name="connsiteY13" fmla="*/ 530225 h 530225"/>
                    <a:gd name="connsiteX14" fmla="*/ 431800 w 1200150"/>
                    <a:gd name="connsiteY14" fmla="*/ 514350 h 530225"/>
                    <a:gd name="connsiteX15" fmla="*/ 381000 w 1200150"/>
                    <a:gd name="connsiteY15" fmla="*/ 511175 h 530225"/>
                    <a:gd name="connsiteX16" fmla="*/ 333375 w 1200150"/>
                    <a:gd name="connsiteY16" fmla="*/ 530225 h 530225"/>
                    <a:gd name="connsiteX17" fmla="*/ 292100 w 1200150"/>
                    <a:gd name="connsiteY17" fmla="*/ 514350 h 530225"/>
                    <a:gd name="connsiteX18" fmla="*/ 149225 w 1200150"/>
                    <a:gd name="connsiteY18" fmla="*/ 514350 h 530225"/>
                    <a:gd name="connsiteX19" fmla="*/ 0 w 1200150"/>
                    <a:gd name="connsiteY19" fmla="*/ 523875 h 530225"/>
                    <a:gd name="connsiteX0" fmla="*/ 1200150 w 1200150"/>
                    <a:gd name="connsiteY0" fmla="*/ 0 h 530225"/>
                    <a:gd name="connsiteX1" fmla="*/ 1149350 w 1200150"/>
                    <a:gd name="connsiteY1" fmla="*/ 66674 h 530225"/>
                    <a:gd name="connsiteX2" fmla="*/ 1155700 w 1200150"/>
                    <a:gd name="connsiteY2" fmla="*/ 136524 h 530225"/>
                    <a:gd name="connsiteX3" fmla="*/ 1152525 w 1200150"/>
                    <a:gd name="connsiteY3" fmla="*/ 212724 h 530225"/>
                    <a:gd name="connsiteX4" fmla="*/ 1155700 w 1200150"/>
                    <a:gd name="connsiteY4" fmla="*/ 247649 h 530225"/>
                    <a:gd name="connsiteX5" fmla="*/ 1114425 w 1200150"/>
                    <a:gd name="connsiteY5" fmla="*/ 279399 h 530225"/>
                    <a:gd name="connsiteX6" fmla="*/ 1130300 w 1200150"/>
                    <a:gd name="connsiteY6" fmla="*/ 307974 h 530225"/>
                    <a:gd name="connsiteX7" fmla="*/ 1031875 w 1200150"/>
                    <a:gd name="connsiteY7" fmla="*/ 460375 h 530225"/>
                    <a:gd name="connsiteX8" fmla="*/ 987425 w 1200150"/>
                    <a:gd name="connsiteY8" fmla="*/ 466725 h 530225"/>
                    <a:gd name="connsiteX9" fmla="*/ 946150 w 1200150"/>
                    <a:gd name="connsiteY9" fmla="*/ 450850 h 530225"/>
                    <a:gd name="connsiteX10" fmla="*/ 828675 w 1200150"/>
                    <a:gd name="connsiteY10" fmla="*/ 463550 h 530225"/>
                    <a:gd name="connsiteX11" fmla="*/ 765175 w 1200150"/>
                    <a:gd name="connsiteY11" fmla="*/ 450850 h 530225"/>
                    <a:gd name="connsiteX12" fmla="*/ 606425 w 1200150"/>
                    <a:gd name="connsiteY12" fmla="*/ 469900 h 530225"/>
                    <a:gd name="connsiteX13" fmla="*/ 488950 w 1200150"/>
                    <a:gd name="connsiteY13" fmla="*/ 504825 h 530225"/>
                    <a:gd name="connsiteX14" fmla="*/ 469900 w 1200150"/>
                    <a:gd name="connsiteY14" fmla="*/ 530225 h 530225"/>
                    <a:gd name="connsiteX15" fmla="*/ 431800 w 1200150"/>
                    <a:gd name="connsiteY15" fmla="*/ 514350 h 530225"/>
                    <a:gd name="connsiteX16" fmla="*/ 381000 w 1200150"/>
                    <a:gd name="connsiteY16" fmla="*/ 511175 h 530225"/>
                    <a:gd name="connsiteX17" fmla="*/ 333375 w 1200150"/>
                    <a:gd name="connsiteY17" fmla="*/ 530225 h 530225"/>
                    <a:gd name="connsiteX18" fmla="*/ 292100 w 1200150"/>
                    <a:gd name="connsiteY18" fmla="*/ 514350 h 530225"/>
                    <a:gd name="connsiteX19" fmla="*/ 149225 w 1200150"/>
                    <a:gd name="connsiteY19" fmla="*/ 514350 h 530225"/>
                    <a:gd name="connsiteX20" fmla="*/ 0 w 1200150"/>
                    <a:gd name="connsiteY20" fmla="*/ 523875 h 530225"/>
                    <a:gd name="connsiteX0" fmla="*/ 1200150 w 1200150"/>
                    <a:gd name="connsiteY0" fmla="*/ 0 h 530225"/>
                    <a:gd name="connsiteX1" fmla="*/ 1149350 w 1200150"/>
                    <a:gd name="connsiteY1" fmla="*/ 66674 h 530225"/>
                    <a:gd name="connsiteX2" fmla="*/ 1155700 w 1200150"/>
                    <a:gd name="connsiteY2" fmla="*/ 136524 h 530225"/>
                    <a:gd name="connsiteX3" fmla="*/ 1152525 w 1200150"/>
                    <a:gd name="connsiteY3" fmla="*/ 212724 h 530225"/>
                    <a:gd name="connsiteX4" fmla="*/ 1155700 w 1200150"/>
                    <a:gd name="connsiteY4" fmla="*/ 247649 h 530225"/>
                    <a:gd name="connsiteX5" fmla="*/ 1114425 w 1200150"/>
                    <a:gd name="connsiteY5" fmla="*/ 279399 h 530225"/>
                    <a:gd name="connsiteX6" fmla="*/ 1130300 w 1200150"/>
                    <a:gd name="connsiteY6" fmla="*/ 307974 h 530225"/>
                    <a:gd name="connsiteX7" fmla="*/ 1054100 w 1200150"/>
                    <a:gd name="connsiteY7" fmla="*/ 384174 h 530225"/>
                    <a:gd name="connsiteX8" fmla="*/ 1031875 w 1200150"/>
                    <a:gd name="connsiteY8" fmla="*/ 460375 h 530225"/>
                    <a:gd name="connsiteX9" fmla="*/ 987425 w 1200150"/>
                    <a:gd name="connsiteY9" fmla="*/ 466725 h 530225"/>
                    <a:gd name="connsiteX10" fmla="*/ 946150 w 1200150"/>
                    <a:gd name="connsiteY10" fmla="*/ 450850 h 530225"/>
                    <a:gd name="connsiteX11" fmla="*/ 828675 w 1200150"/>
                    <a:gd name="connsiteY11" fmla="*/ 463550 h 530225"/>
                    <a:gd name="connsiteX12" fmla="*/ 765175 w 1200150"/>
                    <a:gd name="connsiteY12" fmla="*/ 450850 h 530225"/>
                    <a:gd name="connsiteX13" fmla="*/ 606425 w 1200150"/>
                    <a:gd name="connsiteY13" fmla="*/ 469900 h 530225"/>
                    <a:gd name="connsiteX14" fmla="*/ 488950 w 1200150"/>
                    <a:gd name="connsiteY14" fmla="*/ 504825 h 530225"/>
                    <a:gd name="connsiteX15" fmla="*/ 469900 w 1200150"/>
                    <a:gd name="connsiteY15" fmla="*/ 530225 h 530225"/>
                    <a:gd name="connsiteX16" fmla="*/ 431800 w 1200150"/>
                    <a:gd name="connsiteY16" fmla="*/ 514350 h 530225"/>
                    <a:gd name="connsiteX17" fmla="*/ 381000 w 1200150"/>
                    <a:gd name="connsiteY17" fmla="*/ 511175 h 530225"/>
                    <a:gd name="connsiteX18" fmla="*/ 333375 w 1200150"/>
                    <a:gd name="connsiteY18" fmla="*/ 530225 h 530225"/>
                    <a:gd name="connsiteX19" fmla="*/ 292100 w 1200150"/>
                    <a:gd name="connsiteY19" fmla="*/ 514350 h 530225"/>
                    <a:gd name="connsiteX20" fmla="*/ 149225 w 1200150"/>
                    <a:gd name="connsiteY20" fmla="*/ 514350 h 530225"/>
                    <a:gd name="connsiteX21" fmla="*/ 0 w 1200150"/>
                    <a:gd name="connsiteY21" fmla="*/ 523875 h 530225"/>
                    <a:gd name="connsiteX0" fmla="*/ 1200150 w 1200150"/>
                    <a:gd name="connsiteY0" fmla="*/ 0 h 530225"/>
                    <a:gd name="connsiteX1" fmla="*/ 1149350 w 1200150"/>
                    <a:gd name="connsiteY1" fmla="*/ 66674 h 530225"/>
                    <a:gd name="connsiteX2" fmla="*/ 1155700 w 1200150"/>
                    <a:gd name="connsiteY2" fmla="*/ 136524 h 530225"/>
                    <a:gd name="connsiteX3" fmla="*/ 1152525 w 1200150"/>
                    <a:gd name="connsiteY3" fmla="*/ 212724 h 530225"/>
                    <a:gd name="connsiteX4" fmla="*/ 1155700 w 1200150"/>
                    <a:gd name="connsiteY4" fmla="*/ 247649 h 530225"/>
                    <a:gd name="connsiteX5" fmla="*/ 1114425 w 1200150"/>
                    <a:gd name="connsiteY5" fmla="*/ 279399 h 530225"/>
                    <a:gd name="connsiteX6" fmla="*/ 1130300 w 1200150"/>
                    <a:gd name="connsiteY6" fmla="*/ 307974 h 530225"/>
                    <a:gd name="connsiteX7" fmla="*/ 1054100 w 1200150"/>
                    <a:gd name="connsiteY7" fmla="*/ 384174 h 530225"/>
                    <a:gd name="connsiteX8" fmla="*/ 1031875 w 1200150"/>
                    <a:gd name="connsiteY8" fmla="*/ 460375 h 530225"/>
                    <a:gd name="connsiteX9" fmla="*/ 987425 w 1200150"/>
                    <a:gd name="connsiteY9" fmla="*/ 466725 h 530225"/>
                    <a:gd name="connsiteX10" fmla="*/ 946150 w 1200150"/>
                    <a:gd name="connsiteY10" fmla="*/ 450850 h 530225"/>
                    <a:gd name="connsiteX11" fmla="*/ 828675 w 1200150"/>
                    <a:gd name="connsiteY11" fmla="*/ 463550 h 530225"/>
                    <a:gd name="connsiteX12" fmla="*/ 765175 w 1200150"/>
                    <a:gd name="connsiteY12" fmla="*/ 450850 h 530225"/>
                    <a:gd name="connsiteX13" fmla="*/ 606425 w 1200150"/>
                    <a:gd name="connsiteY13" fmla="*/ 469900 h 530225"/>
                    <a:gd name="connsiteX14" fmla="*/ 488950 w 1200150"/>
                    <a:gd name="connsiteY14" fmla="*/ 504825 h 530225"/>
                    <a:gd name="connsiteX15" fmla="*/ 469900 w 1200150"/>
                    <a:gd name="connsiteY15" fmla="*/ 530225 h 530225"/>
                    <a:gd name="connsiteX16" fmla="*/ 431800 w 1200150"/>
                    <a:gd name="connsiteY16" fmla="*/ 514350 h 530225"/>
                    <a:gd name="connsiteX17" fmla="*/ 381000 w 1200150"/>
                    <a:gd name="connsiteY17" fmla="*/ 511175 h 530225"/>
                    <a:gd name="connsiteX18" fmla="*/ 333375 w 1200150"/>
                    <a:gd name="connsiteY18" fmla="*/ 530225 h 530225"/>
                    <a:gd name="connsiteX19" fmla="*/ 292100 w 1200150"/>
                    <a:gd name="connsiteY19" fmla="*/ 514350 h 530225"/>
                    <a:gd name="connsiteX20" fmla="*/ 149225 w 1200150"/>
                    <a:gd name="connsiteY20" fmla="*/ 514350 h 530225"/>
                    <a:gd name="connsiteX21" fmla="*/ 0 w 1200150"/>
                    <a:gd name="connsiteY21" fmla="*/ 523875 h 5302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200150" h="530225">
                      <a:moveTo>
                        <a:pt x="1200150" y="0"/>
                      </a:moveTo>
                      <a:cubicBezTo>
                        <a:pt x="1188508" y="26458"/>
                        <a:pt x="1160992" y="40216"/>
                        <a:pt x="1149350" y="66674"/>
                      </a:cubicBezTo>
                      <a:cubicBezTo>
                        <a:pt x="1144058" y="83607"/>
                        <a:pt x="1160992" y="119591"/>
                        <a:pt x="1155700" y="136524"/>
                      </a:cubicBezTo>
                      <a:cubicBezTo>
                        <a:pt x="1150408" y="154516"/>
                        <a:pt x="1157817" y="194732"/>
                        <a:pt x="1152525" y="212724"/>
                      </a:cubicBezTo>
                      <a:cubicBezTo>
                        <a:pt x="1148292" y="224366"/>
                        <a:pt x="1159933" y="236007"/>
                        <a:pt x="1155700" y="247649"/>
                      </a:cubicBezTo>
                      <a:cubicBezTo>
                        <a:pt x="1148292" y="258232"/>
                        <a:pt x="1121833" y="268816"/>
                        <a:pt x="1114425" y="279399"/>
                      </a:cubicBezTo>
                      <a:cubicBezTo>
                        <a:pt x="1111250" y="288924"/>
                        <a:pt x="1133475" y="298449"/>
                        <a:pt x="1130300" y="307974"/>
                      </a:cubicBezTo>
                      <a:cubicBezTo>
                        <a:pt x="1112308" y="337607"/>
                        <a:pt x="1068917" y="345016"/>
                        <a:pt x="1054100" y="384174"/>
                      </a:cubicBezTo>
                      <a:lnTo>
                        <a:pt x="1031875" y="460375"/>
                      </a:lnTo>
                      <a:lnTo>
                        <a:pt x="987425" y="466725"/>
                      </a:lnTo>
                      <a:lnTo>
                        <a:pt x="946150" y="450850"/>
                      </a:lnTo>
                      <a:lnTo>
                        <a:pt x="828675" y="463550"/>
                      </a:lnTo>
                      <a:lnTo>
                        <a:pt x="765175" y="450850"/>
                      </a:lnTo>
                      <a:lnTo>
                        <a:pt x="606425" y="469900"/>
                      </a:lnTo>
                      <a:lnTo>
                        <a:pt x="488950" y="504825"/>
                      </a:lnTo>
                      <a:lnTo>
                        <a:pt x="469900" y="530225"/>
                      </a:lnTo>
                      <a:lnTo>
                        <a:pt x="431800" y="514350"/>
                      </a:lnTo>
                      <a:lnTo>
                        <a:pt x="381000" y="511175"/>
                      </a:lnTo>
                      <a:lnTo>
                        <a:pt x="333375" y="530225"/>
                      </a:lnTo>
                      <a:lnTo>
                        <a:pt x="292100" y="514350"/>
                      </a:lnTo>
                      <a:lnTo>
                        <a:pt x="149225" y="514350"/>
                      </a:lnTo>
                      <a:lnTo>
                        <a:pt x="0" y="523875"/>
                      </a:lnTo>
                    </a:path>
                  </a:pathLst>
                </a:custGeom>
                <a:noFill/>
                <a:ln w="25400" cap="flat" cmpd="sng" algn="ctr">
                  <a:solidFill>
                    <a:srgbClr val="FF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12191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132" name="Freeform 232"/>
              <p:cNvSpPr/>
              <p:nvPr/>
            </p:nvSpPr>
            <p:spPr>
              <a:xfrm>
                <a:off x="2232026" y="2951162"/>
                <a:ext cx="1562100" cy="681831"/>
              </a:xfrm>
              <a:custGeom>
                <a:avLst/>
                <a:gdLst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04800 w 1552575"/>
                  <a:gd name="connsiteY7" fmla="*/ 708025 h 863600"/>
                  <a:gd name="connsiteX8" fmla="*/ 307975 w 1552575"/>
                  <a:gd name="connsiteY8" fmla="*/ 739775 h 863600"/>
                  <a:gd name="connsiteX9" fmla="*/ 307975 w 1552575"/>
                  <a:gd name="connsiteY9" fmla="*/ 768350 h 863600"/>
                  <a:gd name="connsiteX10" fmla="*/ 330200 w 1552575"/>
                  <a:gd name="connsiteY10" fmla="*/ 800100 h 863600"/>
                  <a:gd name="connsiteX11" fmla="*/ 327025 w 1552575"/>
                  <a:gd name="connsiteY11" fmla="*/ 825500 h 863600"/>
                  <a:gd name="connsiteX12" fmla="*/ 381000 w 1552575"/>
                  <a:gd name="connsiteY12" fmla="*/ 844550 h 863600"/>
                  <a:gd name="connsiteX13" fmla="*/ 412750 w 1552575"/>
                  <a:gd name="connsiteY13" fmla="*/ 860425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568325 w 1552575"/>
                  <a:gd name="connsiteY18" fmla="*/ 765175 h 863600"/>
                  <a:gd name="connsiteX19" fmla="*/ 552450 w 1552575"/>
                  <a:gd name="connsiteY19" fmla="*/ 762000 h 863600"/>
                  <a:gd name="connsiteX20" fmla="*/ 590550 w 1552575"/>
                  <a:gd name="connsiteY20" fmla="*/ 727075 h 863600"/>
                  <a:gd name="connsiteX21" fmla="*/ 622300 w 1552575"/>
                  <a:gd name="connsiteY21" fmla="*/ 695325 h 863600"/>
                  <a:gd name="connsiteX22" fmla="*/ 669925 w 1552575"/>
                  <a:gd name="connsiteY22" fmla="*/ 635000 h 863600"/>
                  <a:gd name="connsiteX23" fmla="*/ 669925 w 1552575"/>
                  <a:gd name="connsiteY23" fmla="*/ 603250 h 863600"/>
                  <a:gd name="connsiteX24" fmla="*/ 723900 w 1552575"/>
                  <a:gd name="connsiteY24" fmla="*/ 603250 h 863600"/>
                  <a:gd name="connsiteX25" fmla="*/ 736600 w 1552575"/>
                  <a:gd name="connsiteY25" fmla="*/ 574675 h 863600"/>
                  <a:gd name="connsiteX26" fmla="*/ 733425 w 1552575"/>
                  <a:gd name="connsiteY26" fmla="*/ 542925 h 863600"/>
                  <a:gd name="connsiteX27" fmla="*/ 733425 w 1552575"/>
                  <a:gd name="connsiteY27" fmla="*/ 508000 h 863600"/>
                  <a:gd name="connsiteX28" fmla="*/ 793750 w 1552575"/>
                  <a:gd name="connsiteY28" fmla="*/ 504825 h 863600"/>
                  <a:gd name="connsiteX29" fmla="*/ 809625 w 1552575"/>
                  <a:gd name="connsiteY29" fmla="*/ 473075 h 863600"/>
                  <a:gd name="connsiteX30" fmla="*/ 857250 w 1552575"/>
                  <a:gd name="connsiteY30" fmla="*/ 431800 h 863600"/>
                  <a:gd name="connsiteX31" fmla="*/ 882650 w 1552575"/>
                  <a:gd name="connsiteY31" fmla="*/ 422275 h 863600"/>
                  <a:gd name="connsiteX32" fmla="*/ 911225 w 1552575"/>
                  <a:gd name="connsiteY32" fmla="*/ 403225 h 863600"/>
                  <a:gd name="connsiteX33" fmla="*/ 939800 w 1552575"/>
                  <a:gd name="connsiteY33" fmla="*/ 374650 h 863600"/>
                  <a:gd name="connsiteX34" fmla="*/ 974725 w 1552575"/>
                  <a:gd name="connsiteY34" fmla="*/ 377825 h 863600"/>
                  <a:gd name="connsiteX35" fmla="*/ 1012825 w 1552575"/>
                  <a:gd name="connsiteY35" fmla="*/ 371475 h 863600"/>
                  <a:gd name="connsiteX36" fmla="*/ 1050925 w 1552575"/>
                  <a:gd name="connsiteY36" fmla="*/ 387350 h 863600"/>
                  <a:gd name="connsiteX37" fmla="*/ 1111250 w 1552575"/>
                  <a:gd name="connsiteY37" fmla="*/ 387350 h 863600"/>
                  <a:gd name="connsiteX38" fmla="*/ 1146175 w 1552575"/>
                  <a:gd name="connsiteY38" fmla="*/ 374650 h 863600"/>
                  <a:gd name="connsiteX39" fmla="*/ 1222375 w 1552575"/>
                  <a:gd name="connsiteY39" fmla="*/ 304800 h 863600"/>
                  <a:gd name="connsiteX40" fmla="*/ 1235075 w 1552575"/>
                  <a:gd name="connsiteY40" fmla="*/ 250825 h 863600"/>
                  <a:gd name="connsiteX41" fmla="*/ 1292225 w 1552575"/>
                  <a:gd name="connsiteY41" fmla="*/ 222250 h 863600"/>
                  <a:gd name="connsiteX42" fmla="*/ 1447800 w 1552575"/>
                  <a:gd name="connsiteY42" fmla="*/ 155575 h 863600"/>
                  <a:gd name="connsiteX43" fmla="*/ 1473200 w 1552575"/>
                  <a:gd name="connsiteY43" fmla="*/ 111125 h 863600"/>
                  <a:gd name="connsiteX44" fmla="*/ 1473200 w 1552575"/>
                  <a:gd name="connsiteY44" fmla="*/ 92075 h 863600"/>
                  <a:gd name="connsiteX45" fmla="*/ 1508125 w 1552575"/>
                  <a:gd name="connsiteY45" fmla="*/ 57150 h 863600"/>
                  <a:gd name="connsiteX46" fmla="*/ 1552575 w 1552575"/>
                  <a:gd name="connsiteY46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307975 w 1552575"/>
                  <a:gd name="connsiteY8" fmla="*/ 739775 h 863600"/>
                  <a:gd name="connsiteX9" fmla="*/ 307975 w 1552575"/>
                  <a:gd name="connsiteY9" fmla="*/ 768350 h 863600"/>
                  <a:gd name="connsiteX10" fmla="*/ 330200 w 1552575"/>
                  <a:gd name="connsiteY10" fmla="*/ 800100 h 863600"/>
                  <a:gd name="connsiteX11" fmla="*/ 327025 w 1552575"/>
                  <a:gd name="connsiteY11" fmla="*/ 825500 h 863600"/>
                  <a:gd name="connsiteX12" fmla="*/ 381000 w 1552575"/>
                  <a:gd name="connsiteY12" fmla="*/ 844550 h 863600"/>
                  <a:gd name="connsiteX13" fmla="*/ 412750 w 1552575"/>
                  <a:gd name="connsiteY13" fmla="*/ 860425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568325 w 1552575"/>
                  <a:gd name="connsiteY18" fmla="*/ 765175 h 863600"/>
                  <a:gd name="connsiteX19" fmla="*/ 552450 w 1552575"/>
                  <a:gd name="connsiteY19" fmla="*/ 762000 h 863600"/>
                  <a:gd name="connsiteX20" fmla="*/ 590550 w 1552575"/>
                  <a:gd name="connsiteY20" fmla="*/ 727075 h 863600"/>
                  <a:gd name="connsiteX21" fmla="*/ 622300 w 1552575"/>
                  <a:gd name="connsiteY21" fmla="*/ 695325 h 863600"/>
                  <a:gd name="connsiteX22" fmla="*/ 669925 w 1552575"/>
                  <a:gd name="connsiteY22" fmla="*/ 635000 h 863600"/>
                  <a:gd name="connsiteX23" fmla="*/ 669925 w 1552575"/>
                  <a:gd name="connsiteY23" fmla="*/ 603250 h 863600"/>
                  <a:gd name="connsiteX24" fmla="*/ 723900 w 1552575"/>
                  <a:gd name="connsiteY24" fmla="*/ 603250 h 863600"/>
                  <a:gd name="connsiteX25" fmla="*/ 736600 w 1552575"/>
                  <a:gd name="connsiteY25" fmla="*/ 574675 h 863600"/>
                  <a:gd name="connsiteX26" fmla="*/ 733425 w 1552575"/>
                  <a:gd name="connsiteY26" fmla="*/ 542925 h 863600"/>
                  <a:gd name="connsiteX27" fmla="*/ 733425 w 1552575"/>
                  <a:gd name="connsiteY27" fmla="*/ 508000 h 863600"/>
                  <a:gd name="connsiteX28" fmla="*/ 793750 w 1552575"/>
                  <a:gd name="connsiteY28" fmla="*/ 504825 h 863600"/>
                  <a:gd name="connsiteX29" fmla="*/ 809625 w 1552575"/>
                  <a:gd name="connsiteY29" fmla="*/ 473075 h 863600"/>
                  <a:gd name="connsiteX30" fmla="*/ 857250 w 1552575"/>
                  <a:gd name="connsiteY30" fmla="*/ 431800 h 863600"/>
                  <a:gd name="connsiteX31" fmla="*/ 882650 w 1552575"/>
                  <a:gd name="connsiteY31" fmla="*/ 422275 h 863600"/>
                  <a:gd name="connsiteX32" fmla="*/ 911225 w 1552575"/>
                  <a:gd name="connsiteY32" fmla="*/ 403225 h 863600"/>
                  <a:gd name="connsiteX33" fmla="*/ 939800 w 1552575"/>
                  <a:gd name="connsiteY33" fmla="*/ 374650 h 863600"/>
                  <a:gd name="connsiteX34" fmla="*/ 974725 w 1552575"/>
                  <a:gd name="connsiteY34" fmla="*/ 377825 h 863600"/>
                  <a:gd name="connsiteX35" fmla="*/ 1012825 w 1552575"/>
                  <a:gd name="connsiteY35" fmla="*/ 371475 h 863600"/>
                  <a:gd name="connsiteX36" fmla="*/ 1050925 w 1552575"/>
                  <a:gd name="connsiteY36" fmla="*/ 387350 h 863600"/>
                  <a:gd name="connsiteX37" fmla="*/ 1111250 w 1552575"/>
                  <a:gd name="connsiteY37" fmla="*/ 387350 h 863600"/>
                  <a:gd name="connsiteX38" fmla="*/ 1146175 w 1552575"/>
                  <a:gd name="connsiteY38" fmla="*/ 374650 h 863600"/>
                  <a:gd name="connsiteX39" fmla="*/ 1222375 w 1552575"/>
                  <a:gd name="connsiteY39" fmla="*/ 304800 h 863600"/>
                  <a:gd name="connsiteX40" fmla="*/ 1235075 w 1552575"/>
                  <a:gd name="connsiteY40" fmla="*/ 250825 h 863600"/>
                  <a:gd name="connsiteX41" fmla="*/ 1292225 w 1552575"/>
                  <a:gd name="connsiteY41" fmla="*/ 222250 h 863600"/>
                  <a:gd name="connsiteX42" fmla="*/ 1447800 w 1552575"/>
                  <a:gd name="connsiteY42" fmla="*/ 155575 h 863600"/>
                  <a:gd name="connsiteX43" fmla="*/ 1473200 w 1552575"/>
                  <a:gd name="connsiteY43" fmla="*/ 111125 h 863600"/>
                  <a:gd name="connsiteX44" fmla="*/ 1473200 w 1552575"/>
                  <a:gd name="connsiteY44" fmla="*/ 92075 h 863600"/>
                  <a:gd name="connsiteX45" fmla="*/ 1508125 w 1552575"/>
                  <a:gd name="connsiteY45" fmla="*/ 57150 h 863600"/>
                  <a:gd name="connsiteX46" fmla="*/ 1552575 w 1552575"/>
                  <a:gd name="connsiteY46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307975 w 1552575"/>
                  <a:gd name="connsiteY9" fmla="*/ 768350 h 863600"/>
                  <a:gd name="connsiteX10" fmla="*/ 330200 w 1552575"/>
                  <a:gd name="connsiteY10" fmla="*/ 800100 h 863600"/>
                  <a:gd name="connsiteX11" fmla="*/ 327025 w 1552575"/>
                  <a:gd name="connsiteY11" fmla="*/ 825500 h 863600"/>
                  <a:gd name="connsiteX12" fmla="*/ 381000 w 1552575"/>
                  <a:gd name="connsiteY12" fmla="*/ 844550 h 863600"/>
                  <a:gd name="connsiteX13" fmla="*/ 412750 w 1552575"/>
                  <a:gd name="connsiteY13" fmla="*/ 860425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568325 w 1552575"/>
                  <a:gd name="connsiteY18" fmla="*/ 765175 h 863600"/>
                  <a:gd name="connsiteX19" fmla="*/ 552450 w 1552575"/>
                  <a:gd name="connsiteY19" fmla="*/ 762000 h 863600"/>
                  <a:gd name="connsiteX20" fmla="*/ 590550 w 1552575"/>
                  <a:gd name="connsiteY20" fmla="*/ 727075 h 863600"/>
                  <a:gd name="connsiteX21" fmla="*/ 622300 w 1552575"/>
                  <a:gd name="connsiteY21" fmla="*/ 695325 h 863600"/>
                  <a:gd name="connsiteX22" fmla="*/ 669925 w 1552575"/>
                  <a:gd name="connsiteY22" fmla="*/ 635000 h 863600"/>
                  <a:gd name="connsiteX23" fmla="*/ 669925 w 1552575"/>
                  <a:gd name="connsiteY23" fmla="*/ 603250 h 863600"/>
                  <a:gd name="connsiteX24" fmla="*/ 723900 w 1552575"/>
                  <a:gd name="connsiteY24" fmla="*/ 603250 h 863600"/>
                  <a:gd name="connsiteX25" fmla="*/ 736600 w 1552575"/>
                  <a:gd name="connsiteY25" fmla="*/ 574675 h 863600"/>
                  <a:gd name="connsiteX26" fmla="*/ 733425 w 1552575"/>
                  <a:gd name="connsiteY26" fmla="*/ 542925 h 863600"/>
                  <a:gd name="connsiteX27" fmla="*/ 733425 w 1552575"/>
                  <a:gd name="connsiteY27" fmla="*/ 508000 h 863600"/>
                  <a:gd name="connsiteX28" fmla="*/ 793750 w 1552575"/>
                  <a:gd name="connsiteY28" fmla="*/ 504825 h 863600"/>
                  <a:gd name="connsiteX29" fmla="*/ 809625 w 1552575"/>
                  <a:gd name="connsiteY29" fmla="*/ 473075 h 863600"/>
                  <a:gd name="connsiteX30" fmla="*/ 857250 w 1552575"/>
                  <a:gd name="connsiteY30" fmla="*/ 431800 h 863600"/>
                  <a:gd name="connsiteX31" fmla="*/ 882650 w 1552575"/>
                  <a:gd name="connsiteY31" fmla="*/ 422275 h 863600"/>
                  <a:gd name="connsiteX32" fmla="*/ 911225 w 1552575"/>
                  <a:gd name="connsiteY32" fmla="*/ 403225 h 863600"/>
                  <a:gd name="connsiteX33" fmla="*/ 939800 w 1552575"/>
                  <a:gd name="connsiteY33" fmla="*/ 374650 h 863600"/>
                  <a:gd name="connsiteX34" fmla="*/ 974725 w 1552575"/>
                  <a:gd name="connsiteY34" fmla="*/ 377825 h 863600"/>
                  <a:gd name="connsiteX35" fmla="*/ 1012825 w 1552575"/>
                  <a:gd name="connsiteY35" fmla="*/ 371475 h 863600"/>
                  <a:gd name="connsiteX36" fmla="*/ 1050925 w 1552575"/>
                  <a:gd name="connsiteY36" fmla="*/ 387350 h 863600"/>
                  <a:gd name="connsiteX37" fmla="*/ 1111250 w 1552575"/>
                  <a:gd name="connsiteY37" fmla="*/ 387350 h 863600"/>
                  <a:gd name="connsiteX38" fmla="*/ 1146175 w 1552575"/>
                  <a:gd name="connsiteY38" fmla="*/ 374650 h 863600"/>
                  <a:gd name="connsiteX39" fmla="*/ 1222375 w 1552575"/>
                  <a:gd name="connsiteY39" fmla="*/ 304800 h 863600"/>
                  <a:gd name="connsiteX40" fmla="*/ 1235075 w 1552575"/>
                  <a:gd name="connsiteY40" fmla="*/ 250825 h 863600"/>
                  <a:gd name="connsiteX41" fmla="*/ 1292225 w 1552575"/>
                  <a:gd name="connsiteY41" fmla="*/ 222250 h 863600"/>
                  <a:gd name="connsiteX42" fmla="*/ 1447800 w 1552575"/>
                  <a:gd name="connsiteY42" fmla="*/ 155575 h 863600"/>
                  <a:gd name="connsiteX43" fmla="*/ 1473200 w 1552575"/>
                  <a:gd name="connsiteY43" fmla="*/ 111125 h 863600"/>
                  <a:gd name="connsiteX44" fmla="*/ 1473200 w 1552575"/>
                  <a:gd name="connsiteY44" fmla="*/ 92075 h 863600"/>
                  <a:gd name="connsiteX45" fmla="*/ 1508125 w 1552575"/>
                  <a:gd name="connsiteY45" fmla="*/ 57150 h 863600"/>
                  <a:gd name="connsiteX46" fmla="*/ 1552575 w 1552575"/>
                  <a:gd name="connsiteY46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330200 w 1552575"/>
                  <a:gd name="connsiteY10" fmla="*/ 800100 h 863600"/>
                  <a:gd name="connsiteX11" fmla="*/ 327025 w 1552575"/>
                  <a:gd name="connsiteY11" fmla="*/ 825500 h 863600"/>
                  <a:gd name="connsiteX12" fmla="*/ 381000 w 1552575"/>
                  <a:gd name="connsiteY12" fmla="*/ 844550 h 863600"/>
                  <a:gd name="connsiteX13" fmla="*/ 412750 w 1552575"/>
                  <a:gd name="connsiteY13" fmla="*/ 860425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568325 w 1552575"/>
                  <a:gd name="connsiteY18" fmla="*/ 765175 h 863600"/>
                  <a:gd name="connsiteX19" fmla="*/ 552450 w 1552575"/>
                  <a:gd name="connsiteY19" fmla="*/ 762000 h 863600"/>
                  <a:gd name="connsiteX20" fmla="*/ 590550 w 1552575"/>
                  <a:gd name="connsiteY20" fmla="*/ 727075 h 863600"/>
                  <a:gd name="connsiteX21" fmla="*/ 622300 w 1552575"/>
                  <a:gd name="connsiteY21" fmla="*/ 695325 h 863600"/>
                  <a:gd name="connsiteX22" fmla="*/ 669925 w 1552575"/>
                  <a:gd name="connsiteY22" fmla="*/ 635000 h 863600"/>
                  <a:gd name="connsiteX23" fmla="*/ 669925 w 1552575"/>
                  <a:gd name="connsiteY23" fmla="*/ 603250 h 863600"/>
                  <a:gd name="connsiteX24" fmla="*/ 723900 w 1552575"/>
                  <a:gd name="connsiteY24" fmla="*/ 603250 h 863600"/>
                  <a:gd name="connsiteX25" fmla="*/ 736600 w 1552575"/>
                  <a:gd name="connsiteY25" fmla="*/ 574675 h 863600"/>
                  <a:gd name="connsiteX26" fmla="*/ 733425 w 1552575"/>
                  <a:gd name="connsiteY26" fmla="*/ 542925 h 863600"/>
                  <a:gd name="connsiteX27" fmla="*/ 733425 w 1552575"/>
                  <a:gd name="connsiteY27" fmla="*/ 508000 h 863600"/>
                  <a:gd name="connsiteX28" fmla="*/ 793750 w 1552575"/>
                  <a:gd name="connsiteY28" fmla="*/ 504825 h 863600"/>
                  <a:gd name="connsiteX29" fmla="*/ 809625 w 1552575"/>
                  <a:gd name="connsiteY29" fmla="*/ 473075 h 863600"/>
                  <a:gd name="connsiteX30" fmla="*/ 857250 w 1552575"/>
                  <a:gd name="connsiteY30" fmla="*/ 431800 h 863600"/>
                  <a:gd name="connsiteX31" fmla="*/ 882650 w 1552575"/>
                  <a:gd name="connsiteY31" fmla="*/ 422275 h 863600"/>
                  <a:gd name="connsiteX32" fmla="*/ 911225 w 1552575"/>
                  <a:gd name="connsiteY32" fmla="*/ 403225 h 863600"/>
                  <a:gd name="connsiteX33" fmla="*/ 939800 w 1552575"/>
                  <a:gd name="connsiteY33" fmla="*/ 374650 h 863600"/>
                  <a:gd name="connsiteX34" fmla="*/ 974725 w 1552575"/>
                  <a:gd name="connsiteY34" fmla="*/ 377825 h 863600"/>
                  <a:gd name="connsiteX35" fmla="*/ 1012825 w 1552575"/>
                  <a:gd name="connsiteY35" fmla="*/ 371475 h 863600"/>
                  <a:gd name="connsiteX36" fmla="*/ 1050925 w 1552575"/>
                  <a:gd name="connsiteY36" fmla="*/ 387350 h 863600"/>
                  <a:gd name="connsiteX37" fmla="*/ 1111250 w 1552575"/>
                  <a:gd name="connsiteY37" fmla="*/ 387350 h 863600"/>
                  <a:gd name="connsiteX38" fmla="*/ 1146175 w 1552575"/>
                  <a:gd name="connsiteY38" fmla="*/ 374650 h 863600"/>
                  <a:gd name="connsiteX39" fmla="*/ 1222375 w 1552575"/>
                  <a:gd name="connsiteY39" fmla="*/ 304800 h 863600"/>
                  <a:gd name="connsiteX40" fmla="*/ 1235075 w 1552575"/>
                  <a:gd name="connsiteY40" fmla="*/ 250825 h 863600"/>
                  <a:gd name="connsiteX41" fmla="*/ 1292225 w 1552575"/>
                  <a:gd name="connsiteY41" fmla="*/ 222250 h 863600"/>
                  <a:gd name="connsiteX42" fmla="*/ 1447800 w 1552575"/>
                  <a:gd name="connsiteY42" fmla="*/ 155575 h 863600"/>
                  <a:gd name="connsiteX43" fmla="*/ 1473200 w 1552575"/>
                  <a:gd name="connsiteY43" fmla="*/ 111125 h 863600"/>
                  <a:gd name="connsiteX44" fmla="*/ 1473200 w 1552575"/>
                  <a:gd name="connsiteY44" fmla="*/ 92075 h 863600"/>
                  <a:gd name="connsiteX45" fmla="*/ 1508125 w 1552575"/>
                  <a:gd name="connsiteY45" fmla="*/ 57150 h 863600"/>
                  <a:gd name="connsiteX46" fmla="*/ 1552575 w 1552575"/>
                  <a:gd name="connsiteY46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539750 w 1552575"/>
                  <a:gd name="connsiteY10" fmla="*/ 654844 h 863600"/>
                  <a:gd name="connsiteX11" fmla="*/ 327025 w 1552575"/>
                  <a:gd name="connsiteY11" fmla="*/ 825500 h 863600"/>
                  <a:gd name="connsiteX12" fmla="*/ 381000 w 1552575"/>
                  <a:gd name="connsiteY12" fmla="*/ 844550 h 863600"/>
                  <a:gd name="connsiteX13" fmla="*/ 412750 w 1552575"/>
                  <a:gd name="connsiteY13" fmla="*/ 860425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568325 w 1552575"/>
                  <a:gd name="connsiteY18" fmla="*/ 765175 h 863600"/>
                  <a:gd name="connsiteX19" fmla="*/ 552450 w 1552575"/>
                  <a:gd name="connsiteY19" fmla="*/ 762000 h 863600"/>
                  <a:gd name="connsiteX20" fmla="*/ 590550 w 1552575"/>
                  <a:gd name="connsiteY20" fmla="*/ 727075 h 863600"/>
                  <a:gd name="connsiteX21" fmla="*/ 622300 w 1552575"/>
                  <a:gd name="connsiteY21" fmla="*/ 695325 h 863600"/>
                  <a:gd name="connsiteX22" fmla="*/ 669925 w 1552575"/>
                  <a:gd name="connsiteY22" fmla="*/ 635000 h 863600"/>
                  <a:gd name="connsiteX23" fmla="*/ 669925 w 1552575"/>
                  <a:gd name="connsiteY23" fmla="*/ 603250 h 863600"/>
                  <a:gd name="connsiteX24" fmla="*/ 723900 w 1552575"/>
                  <a:gd name="connsiteY24" fmla="*/ 603250 h 863600"/>
                  <a:gd name="connsiteX25" fmla="*/ 736600 w 1552575"/>
                  <a:gd name="connsiteY25" fmla="*/ 574675 h 863600"/>
                  <a:gd name="connsiteX26" fmla="*/ 733425 w 1552575"/>
                  <a:gd name="connsiteY26" fmla="*/ 542925 h 863600"/>
                  <a:gd name="connsiteX27" fmla="*/ 733425 w 1552575"/>
                  <a:gd name="connsiteY27" fmla="*/ 508000 h 863600"/>
                  <a:gd name="connsiteX28" fmla="*/ 793750 w 1552575"/>
                  <a:gd name="connsiteY28" fmla="*/ 504825 h 863600"/>
                  <a:gd name="connsiteX29" fmla="*/ 809625 w 1552575"/>
                  <a:gd name="connsiteY29" fmla="*/ 473075 h 863600"/>
                  <a:gd name="connsiteX30" fmla="*/ 857250 w 1552575"/>
                  <a:gd name="connsiteY30" fmla="*/ 431800 h 863600"/>
                  <a:gd name="connsiteX31" fmla="*/ 882650 w 1552575"/>
                  <a:gd name="connsiteY31" fmla="*/ 422275 h 863600"/>
                  <a:gd name="connsiteX32" fmla="*/ 911225 w 1552575"/>
                  <a:gd name="connsiteY32" fmla="*/ 403225 h 863600"/>
                  <a:gd name="connsiteX33" fmla="*/ 939800 w 1552575"/>
                  <a:gd name="connsiteY33" fmla="*/ 374650 h 863600"/>
                  <a:gd name="connsiteX34" fmla="*/ 974725 w 1552575"/>
                  <a:gd name="connsiteY34" fmla="*/ 377825 h 863600"/>
                  <a:gd name="connsiteX35" fmla="*/ 1012825 w 1552575"/>
                  <a:gd name="connsiteY35" fmla="*/ 371475 h 863600"/>
                  <a:gd name="connsiteX36" fmla="*/ 1050925 w 1552575"/>
                  <a:gd name="connsiteY36" fmla="*/ 387350 h 863600"/>
                  <a:gd name="connsiteX37" fmla="*/ 1111250 w 1552575"/>
                  <a:gd name="connsiteY37" fmla="*/ 387350 h 863600"/>
                  <a:gd name="connsiteX38" fmla="*/ 1146175 w 1552575"/>
                  <a:gd name="connsiteY38" fmla="*/ 374650 h 863600"/>
                  <a:gd name="connsiteX39" fmla="*/ 1222375 w 1552575"/>
                  <a:gd name="connsiteY39" fmla="*/ 304800 h 863600"/>
                  <a:gd name="connsiteX40" fmla="*/ 1235075 w 1552575"/>
                  <a:gd name="connsiteY40" fmla="*/ 250825 h 863600"/>
                  <a:gd name="connsiteX41" fmla="*/ 1292225 w 1552575"/>
                  <a:gd name="connsiteY41" fmla="*/ 222250 h 863600"/>
                  <a:gd name="connsiteX42" fmla="*/ 1447800 w 1552575"/>
                  <a:gd name="connsiteY42" fmla="*/ 155575 h 863600"/>
                  <a:gd name="connsiteX43" fmla="*/ 1473200 w 1552575"/>
                  <a:gd name="connsiteY43" fmla="*/ 111125 h 863600"/>
                  <a:gd name="connsiteX44" fmla="*/ 1473200 w 1552575"/>
                  <a:gd name="connsiteY44" fmla="*/ 92075 h 863600"/>
                  <a:gd name="connsiteX45" fmla="*/ 1508125 w 1552575"/>
                  <a:gd name="connsiteY45" fmla="*/ 57150 h 863600"/>
                  <a:gd name="connsiteX46" fmla="*/ 1552575 w 1552575"/>
                  <a:gd name="connsiteY46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539750 w 1552575"/>
                  <a:gd name="connsiteY10" fmla="*/ 654844 h 863600"/>
                  <a:gd name="connsiteX11" fmla="*/ 574675 w 1552575"/>
                  <a:gd name="connsiteY11" fmla="*/ 611187 h 863600"/>
                  <a:gd name="connsiteX12" fmla="*/ 381000 w 1552575"/>
                  <a:gd name="connsiteY12" fmla="*/ 844550 h 863600"/>
                  <a:gd name="connsiteX13" fmla="*/ 412750 w 1552575"/>
                  <a:gd name="connsiteY13" fmla="*/ 860425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568325 w 1552575"/>
                  <a:gd name="connsiteY18" fmla="*/ 765175 h 863600"/>
                  <a:gd name="connsiteX19" fmla="*/ 552450 w 1552575"/>
                  <a:gd name="connsiteY19" fmla="*/ 762000 h 863600"/>
                  <a:gd name="connsiteX20" fmla="*/ 590550 w 1552575"/>
                  <a:gd name="connsiteY20" fmla="*/ 727075 h 863600"/>
                  <a:gd name="connsiteX21" fmla="*/ 622300 w 1552575"/>
                  <a:gd name="connsiteY21" fmla="*/ 695325 h 863600"/>
                  <a:gd name="connsiteX22" fmla="*/ 669925 w 1552575"/>
                  <a:gd name="connsiteY22" fmla="*/ 635000 h 863600"/>
                  <a:gd name="connsiteX23" fmla="*/ 669925 w 1552575"/>
                  <a:gd name="connsiteY23" fmla="*/ 603250 h 863600"/>
                  <a:gd name="connsiteX24" fmla="*/ 723900 w 1552575"/>
                  <a:gd name="connsiteY24" fmla="*/ 603250 h 863600"/>
                  <a:gd name="connsiteX25" fmla="*/ 736600 w 1552575"/>
                  <a:gd name="connsiteY25" fmla="*/ 574675 h 863600"/>
                  <a:gd name="connsiteX26" fmla="*/ 733425 w 1552575"/>
                  <a:gd name="connsiteY26" fmla="*/ 542925 h 863600"/>
                  <a:gd name="connsiteX27" fmla="*/ 733425 w 1552575"/>
                  <a:gd name="connsiteY27" fmla="*/ 508000 h 863600"/>
                  <a:gd name="connsiteX28" fmla="*/ 793750 w 1552575"/>
                  <a:gd name="connsiteY28" fmla="*/ 504825 h 863600"/>
                  <a:gd name="connsiteX29" fmla="*/ 809625 w 1552575"/>
                  <a:gd name="connsiteY29" fmla="*/ 473075 h 863600"/>
                  <a:gd name="connsiteX30" fmla="*/ 857250 w 1552575"/>
                  <a:gd name="connsiteY30" fmla="*/ 431800 h 863600"/>
                  <a:gd name="connsiteX31" fmla="*/ 882650 w 1552575"/>
                  <a:gd name="connsiteY31" fmla="*/ 422275 h 863600"/>
                  <a:gd name="connsiteX32" fmla="*/ 911225 w 1552575"/>
                  <a:gd name="connsiteY32" fmla="*/ 403225 h 863600"/>
                  <a:gd name="connsiteX33" fmla="*/ 939800 w 1552575"/>
                  <a:gd name="connsiteY33" fmla="*/ 374650 h 863600"/>
                  <a:gd name="connsiteX34" fmla="*/ 974725 w 1552575"/>
                  <a:gd name="connsiteY34" fmla="*/ 377825 h 863600"/>
                  <a:gd name="connsiteX35" fmla="*/ 1012825 w 1552575"/>
                  <a:gd name="connsiteY35" fmla="*/ 371475 h 863600"/>
                  <a:gd name="connsiteX36" fmla="*/ 1050925 w 1552575"/>
                  <a:gd name="connsiteY36" fmla="*/ 387350 h 863600"/>
                  <a:gd name="connsiteX37" fmla="*/ 1111250 w 1552575"/>
                  <a:gd name="connsiteY37" fmla="*/ 387350 h 863600"/>
                  <a:gd name="connsiteX38" fmla="*/ 1146175 w 1552575"/>
                  <a:gd name="connsiteY38" fmla="*/ 374650 h 863600"/>
                  <a:gd name="connsiteX39" fmla="*/ 1222375 w 1552575"/>
                  <a:gd name="connsiteY39" fmla="*/ 304800 h 863600"/>
                  <a:gd name="connsiteX40" fmla="*/ 1235075 w 1552575"/>
                  <a:gd name="connsiteY40" fmla="*/ 250825 h 863600"/>
                  <a:gd name="connsiteX41" fmla="*/ 1292225 w 1552575"/>
                  <a:gd name="connsiteY41" fmla="*/ 222250 h 863600"/>
                  <a:gd name="connsiteX42" fmla="*/ 1447800 w 1552575"/>
                  <a:gd name="connsiteY42" fmla="*/ 155575 h 863600"/>
                  <a:gd name="connsiteX43" fmla="*/ 1473200 w 1552575"/>
                  <a:gd name="connsiteY43" fmla="*/ 111125 h 863600"/>
                  <a:gd name="connsiteX44" fmla="*/ 1473200 w 1552575"/>
                  <a:gd name="connsiteY44" fmla="*/ 92075 h 863600"/>
                  <a:gd name="connsiteX45" fmla="*/ 1508125 w 1552575"/>
                  <a:gd name="connsiteY45" fmla="*/ 57150 h 863600"/>
                  <a:gd name="connsiteX46" fmla="*/ 1552575 w 1552575"/>
                  <a:gd name="connsiteY46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539750 w 1552575"/>
                  <a:gd name="connsiteY10" fmla="*/ 654844 h 863600"/>
                  <a:gd name="connsiteX11" fmla="*/ 574675 w 1552575"/>
                  <a:gd name="connsiteY11" fmla="*/ 611187 h 863600"/>
                  <a:gd name="connsiteX12" fmla="*/ 602457 w 1552575"/>
                  <a:gd name="connsiteY12" fmla="*/ 637382 h 863600"/>
                  <a:gd name="connsiteX13" fmla="*/ 412750 w 1552575"/>
                  <a:gd name="connsiteY13" fmla="*/ 860425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568325 w 1552575"/>
                  <a:gd name="connsiteY18" fmla="*/ 765175 h 863600"/>
                  <a:gd name="connsiteX19" fmla="*/ 552450 w 1552575"/>
                  <a:gd name="connsiteY19" fmla="*/ 762000 h 863600"/>
                  <a:gd name="connsiteX20" fmla="*/ 590550 w 1552575"/>
                  <a:gd name="connsiteY20" fmla="*/ 727075 h 863600"/>
                  <a:gd name="connsiteX21" fmla="*/ 622300 w 1552575"/>
                  <a:gd name="connsiteY21" fmla="*/ 695325 h 863600"/>
                  <a:gd name="connsiteX22" fmla="*/ 669925 w 1552575"/>
                  <a:gd name="connsiteY22" fmla="*/ 635000 h 863600"/>
                  <a:gd name="connsiteX23" fmla="*/ 669925 w 1552575"/>
                  <a:gd name="connsiteY23" fmla="*/ 603250 h 863600"/>
                  <a:gd name="connsiteX24" fmla="*/ 723900 w 1552575"/>
                  <a:gd name="connsiteY24" fmla="*/ 603250 h 863600"/>
                  <a:gd name="connsiteX25" fmla="*/ 736600 w 1552575"/>
                  <a:gd name="connsiteY25" fmla="*/ 574675 h 863600"/>
                  <a:gd name="connsiteX26" fmla="*/ 733425 w 1552575"/>
                  <a:gd name="connsiteY26" fmla="*/ 542925 h 863600"/>
                  <a:gd name="connsiteX27" fmla="*/ 733425 w 1552575"/>
                  <a:gd name="connsiteY27" fmla="*/ 508000 h 863600"/>
                  <a:gd name="connsiteX28" fmla="*/ 793750 w 1552575"/>
                  <a:gd name="connsiteY28" fmla="*/ 504825 h 863600"/>
                  <a:gd name="connsiteX29" fmla="*/ 809625 w 1552575"/>
                  <a:gd name="connsiteY29" fmla="*/ 473075 h 863600"/>
                  <a:gd name="connsiteX30" fmla="*/ 857250 w 1552575"/>
                  <a:gd name="connsiteY30" fmla="*/ 431800 h 863600"/>
                  <a:gd name="connsiteX31" fmla="*/ 882650 w 1552575"/>
                  <a:gd name="connsiteY31" fmla="*/ 422275 h 863600"/>
                  <a:gd name="connsiteX32" fmla="*/ 911225 w 1552575"/>
                  <a:gd name="connsiteY32" fmla="*/ 403225 h 863600"/>
                  <a:gd name="connsiteX33" fmla="*/ 939800 w 1552575"/>
                  <a:gd name="connsiteY33" fmla="*/ 374650 h 863600"/>
                  <a:gd name="connsiteX34" fmla="*/ 974725 w 1552575"/>
                  <a:gd name="connsiteY34" fmla="*/ 377825 h 863600"/>
                  <a:gd name="connsiteX35" fmla="*/ 1012825 w 1552575"/>
                  <a:gd name="connsiteY35" fmla="*/ 371475 h 863600"/>
                  <a:gd name="connsiteX36" fmla="*/ 1050925 w 1552575"/>
                  <a:gd name="connsiteY36" fmla="*/ 387350 h 863600"/>
                  <a:gd name="connsiteX37" fmla="*/ 1111250 w 1552575"/>
                  <a:gd name="connsiteY37" fmla="*/ 387350 h 863600"/>
                  <a:gd name="connsiteX38" fmla="*/ 1146175 w 1552575"/>
                  <a:gd name="connsiteY38" fmla="*/ 374650 h 863600"/>
                  <a:gd name="connsiteX39" fmla="*/ 1222375 w 1552575"/>
                  <a:gd name="connsiteY39" fmla="*/ 304800 h 863600"/>
                  <a:gd name="connsiteX40" fmla="*/ 1235075 w 1552575"/>
                  <a:gd name="connsiteY40" fmla="*/ 250825 h 863600"/>
                  <a:gd name="connsiteX41" fmla="*/ 1292225 w 1552575"/>
                  <a:gd name="connsiteY41" fmla="*/ 222250 h 863600"/>
                  <a:gd name="connsiteX42" fmla="*/ 1447800 w 1552575"/>
                  <a:gd name="connsiteY42" fmla="*/ 155575 h 863600"/>
                  <a:gd name="connsiteX43" fmla="*/ 1473200 w 1552575"/>
                  <a:gd name="connsiteY43" fmla="*/ 111125 h 863600"/>
                  <a:gd name="connsiteX44" fmla="*/ 1473200 w 1552575"/>
                  <a:gd name="connsiteY44" fmla="*/ 92075 h 863600"/>
                  <a:gd name="connsiteX45" fmla="*/ 1508125 w 1552575"/>
                  <a:gd name="connsiteY45" fmla="*/ 57150 h 863600"/>
                  <a:gd name="connsiteX46" fmla="*/ 1552575 w 1552575"/>
                  <a:gd name="connsiteY46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539750 w 1552575"/>
                  <a:gd name="connsiteY10" fmla="*/ 654844 h 863600"/>
                  <a:gd name="connsiteX11" fmla="*/ 574675 w 1552575"/>
                  <a:gd name="connsiteY11" fmla="*/ 611187 h 863600"/>
                  <a:gd name="connsiteX12" fmla="*/ 602457 w 1552575"/>
                  <a:gd name="connsiteY12" fmla="*/ 637382 h 863600"/>
                  <a:gd name="connsiteX13" fmla="*/ 643731 w 1552575"/>
                  <a:gd name="connsiteY13" fmla="*/ 600868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568325 w 1552575"/>
                  <a:gd name="connsiteY18" fmla="*/ 765175 h 863600"/>
                  <a:gd name="connsiteX19" fmla="*/ 552450 w 1552575"/>
                  <a:gd name="connsiteY19" fmla="*/ 762000 h 863600"/>
                  <a:gd name="connsiteX20" fmla="*/ 590550 w 1552575"/>
                  <a:gd name="connsiteY20" fmla="*/ 727075 h 863600"/>
                  <a:gd name="connsiteX21" fmla="*/ 622300 w 1552575"/>
                  <a:gd name="connsiteY21" fmla="*/ 695325 h 863600"/>
                  <a:gd name="connsiteX22" fmla="*/ 669925 w 1552575"/>
                  <a:gd name="connsiteY22" fmla="*/ 635000 h 863600"/>
                  <a:gd name="connsiteX23" fmla="*/ 669925 w 1552575"/>
                  <a:gd name="connsiteY23" fmla="*/ 603250 h 863600"/>
                  <a:gd name="connsiteX24" fmla="*/ 723900 w 1552575"/>
                  <a:gd name="connsiteY24" fmla="*/ 603250 h 863600"/>
                  <a:gd name="connsiteX25" fmla="*/ 736600 w 1552575"/>
                  <a:gd name="connsiteY25" fmla="*/ 574675 h 863600"/>
                  <a:gd name="connsiteX26" fmla="*/ 733425 w 1552575"/>
                  <a:gd name="connsiteY26" fmla="*/ 542925 h 863600"/>
                  <a:gd name="connsiteX27" fmla="*/ 733425 w 1552575"/>
                  <a:gd name="connsiteY27" fmla="*/ 508000 h 863600"/>
                  <a:gd name="connsiteX28" fmla="*/ 793750 w 1552575"/>
                  <a:gd name="connsiteY28" fmla="*/ 504825 h 863600"/>
                  <a:gd name="connsiteX29" fmla="*/ 809625 w 1552575"/>
                  <a:gd name="connsiteY29" fmla="*/ 473075 h 863600"/>
                  <a:gd name="connsiteX30" fmla="*/ 857250 w 1552575"/>
                  <a:gd name="connsiteY30" fmla="*/ 431800 h 863600"/>
                  <a:gd name="connsiteX31" fmla="*/ 882650 w 1552575"/>
                  <a:gd name="connsiteY31" fmla="*/ 422275 h 863600"/>
                  <a:gd name="connsiteX32" fmla="*/ 911225 w 1552575"/>
                  <a:gd name="connsiteY32" fmla="*/ 403225 h 863600"/>
                  <a:gd name="connsiteX33" fmla="*/ 939800 w 1552575"/>
                  <a:gd name="connsiteY33" fmla="*/ 374650 h 863600"/>
                  <a:gd name="connsiteX34" fmla="*/ 974725 w 1552575"/>
                  <a:gd name="connsiteY34" fmla="*/ 377825 h 863600"/>
                  <a:gd name="connsiteX35" fmla="*/ 1012825 w 1552575"/>
                  <a:gd name="connsiteY35" fmla="*/ 371475 h 863600"/>
                  <a:gd name="connsiteX36" fmla="*/ 1050925 w 1552575"/>
                  <a:gd name="connsiteY36" fmla="*/ 387350 h 863600"/>
                  <a:gd name="connsiteX37" fmla="*/ 1111250 w 1552575"/>
                  <a:gd name="connsiteY37" fmla="*/ 387350 h 863600"/>
                  <a:gd name="connsiteX38" fmla="*/ 1146175 w 1552575"/>
                  <a:gd name="connsiteY38" fmla="*/ 374650 h 863600"/>
                  <a:gd name="connsiteX39" fmla="*/ 1222375 w 1552575"/>
                  <a:gd name="connsiteY39" fmla="*/ 304800 h 863600"/>
                  <a:gd name="connsiteX40" fmla="*/ 1235075 w 1552575"/>
                  <a:gd name="connsiteY40" fmla="*/ 250825 h 863600"/>
                  <a:gd name="connsiteX41" fmla="*/ 1292225 w 1552575"/>
                  <a:gd name="connsiteY41" fmla="*/ 222250 h 863600"/>
                  <a:gd name="connsiteX42" fmla="*/ 1447800 w 1552575"/>
                  <a:gd name="connsiteY42" fmla="*/ 155575 h 863600"/>
                  <a:gd name="connsiteX43" fmla="*/ 1473200 w 1552575"/>
                  <a:gd name="connsiteY43" fmla="*/ 111125 h 863600"/>
                  <a:gd name="connsiteX44" fmla="*/ 1473200 w 1552575"/>
                  <a:gd name="connsiteY44" fmla="*/ 92075 h 863600"/>
                  <a:gd name="connsiteX45" fmla="*/ 1508125 w 1552575"/>
                  <a:gd name="connsiteY45" fmla="*/ 57150 h 863600"/>
                  <a:gd name="connsiteX46" fmla="*/ 1552575 w 1552575"/>
                  <a:gd name="connsiteY46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539750 w 1552575"/>
                  <a:gd name="connsiteY10" fmla="*/ 654844 h 863600"/>
                  <a:gd name="connsiteX11" fmla="*/ 574675 w 1552575"/>
                  <a:gd name="connsiteY11" fmla="*/ 611187 h 863600"/>
                  <a:gd name="connsiteX12" fmla="*/ 602457 w 1552575"/>
                  <a:gd name="connsiteY12" fmla="*/ 637382 h 863600"/>
                  <a:gd name="connsiteX13" fmla="*/ 643731 w 1552575"/>
                  <a:gd name="connsiteY13" fmla="*/ 600868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568325 w 1552575"/>
                  <a:gd name="connsiteY18" fmla="*/ 765175 h 863600"/>
                  <a:gd name="connsiteX19" fmla="*/ 552450 w 1552575"/>
                  <a:gd name="connsiteY19" fmla="*/ 762000 h 863600"/>
                  <a:gd name="connsiteX20" fmla="*/ 590550 w 1552575"/>
                  <a:gd name="connsiteY20" fmla="*/ 727075 h 863600"/>
                  <a:gd name="connsiteX21" fmla="*/ 669925 w 1552575"/>
                  <a:gd name="connsiteY21" fmla="*/ 635000 h 863600"/>
                  <a:gd name="connsiteX22" fmla="*/ 669925 w 1552575"/>
                  <a:gd name="connsiteY22" fmla="*/ 603250 h 863600"/>
                  <a:gd name="connsiteX23" fmla="*/ 723900 w 1552575"/>
                  <a:gd name="connsiteY23" fmla="*/ 603250 h 863600"/>
                  <a:gd name="connsiteX24" fmla="*/ 736600 w 1552575"/>
                  <a:gd name="connsiteY24" fmla="*/ 574675 h 863600"/>
                  <a:gd name="connsiteX25" fmla="*/ 733425 w 1552575"/>
                  <a:gd name="connsiteY25" fmla="*/ 542925 h 863600"/>
                  <a:gd name="connsiteX26" fmla="*/ 733425 w 1552575"/>
                  <a:gd name="connsiteY26" fmla="*/ 508000 h 863600"/>
                  <a:gd name="connsiteX27" fmla="*/ 793750 w 1552575"/>
                  <a:gd name="connsiteY27" fmla="*/ 504825 h 863600"/>
                  <a:gd name="connsiteX28" fmla="*/ 809625 w 1552575"/>
                  <a:gd name="connsiteY28" fmla="*/ 473075 h 863600"/>
                  <a:gd name="connsiteX29" fmla="*/ 857250 w 1552575"/>
                  <a:gd name="connsiteY29" fmla="*/ 431800 h 863600"/>
                  <a:gd name="connsiteX30" fmla="*/ 882650 w 1552575"/>
                  <a:gd name="connsiteY30" fmla="*/ 422275 h 863600"/>
                  <a:gd name="connsiteX31" fmla="*/ 911225 w 1552575"/>
                  <a:gd name="connsiteY31" fmla="*/ 403225 h 863600"/>
                  <a:gd name="connsiteX32" fmla="*/ 939800 w 1552575"/>
                  <a:gd name="connsiteY32" fmla="*/ 374650 h 863600"/>
                  <a:gd name="connsiteX33" fmla="*/ 974725 w 1552575"/>
                  <a:gd name="connsiteY33" fmla="*/ 377825 h 863600"/>
                  <a:gd name="connsiteX34" fmla="*/ 1012825 w 1552575"/>
                  <a:gd name="connsiteY34" fmla="*/ 371475 h 863600"/>
                  <a:gd name="connsiteX35" fmla="*/ 1050925 w 1552575"/>
                  <a:gd name="connsiteY35" fmla="*/ 387350 h 863600"/>
                  <a:gd name="connsiteX36" fmla="*/ 1111250 w 1552575"/>
                  <a:gd name="connsiteY36" fmla="*/ 387350 h 863600"/>
                  <a:gd name="connsiteX37" fmla="*/ 1146175 w 1552575"/>
                  <a:gd name="connsiteY37" fmla="*/ 374650 h 863600"/>
                  <a:gd name="connsiteX38" fmla="*/ 1222375 w 1552575"/>
                  <a:gd name="connsiteY38" fmla="*/ 304800 h 863600"/>
                  <a:gd name="connsiteX39" fmla="*/ 1235075 w 1552575"/>
                  <a:gd name="connsiteY39" fmla="*/ 250825 h 863600"/>
                  <a:gd name="connsiteX40" fmla="*/ 1292225 w 1552575"/>
                  <a:gd name="connsiteY40" fmla="*/ 222250 h 863600"/>
                  <a:gd name="connsiteX41" fmla="*/ 1447800 w 1552575"/>
                  <a:gd name="connsiteY41" fmla="*/ 155575 h 863600"/>
                  <a:gd name="connsiteX42" fmla="*/ 1473200 w 1552575"/>
                  <a:gd name="connsiteY42" fmla="*/ 111125 h 863600"/>
                  <a:gd name="connsiteX43" fmla="*/ 1473200 w 1552575"/>
                  <a:gd name="connsiteY43" fmla="*/ 92075 h 863600"/>
                  <a:gd name="connsiteX44" fmla="*/ 1508125 w 1552575"/>
                  <a:gd name="connsiteY44" fmla="*/ 57150 h 863600"/>
                  <a:gd name="connsiteX45" fmla="*/ 1552575 w 1552575"/>
                  <a:gd name="connsiteY45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539750 w 1552575"/>
                  <a:gd name="connsiteY10" fmla="*/ 654844 h 863600"/>
                  <a:gd name="connsiteX11" fmla="*/ 574675 w 1552575"/>
                  <a:gd name="connsiteY11" fmla="*/ 611187 h 863600"/>
                  <a:gd name="connsiteX12" fmla="*/ 602457 w 1552575"/>
                  <a:gd name="connsiteY12" fmla="*/ 637382 h 863600"/>
                  <a:gd name="connsiteX13" fmla="*/ 643731 w 1552575"/>
                  <a:gd name="connsiteY13" fmla="*/ 600868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568325 w 1552575"/>
                  <a:gd name="connsiteY18" fmla="*/ 765175 h 863600"/>
                  <a:gd name="connsiteX19" fmla="*/ 552450 w 1552575"/>
                  <a:gd name="connsiteY19" fmla="*/ 762000 h 863600"/>
                  <a:gd name="connsiteX20" fmla="*/ 669925 w 1552575"/>
                  <a:gd name="connsiteY20" fmla="*/ 635000 h 863600"/>
                  <a:gd name="connsiteX21" fmla="*/ 669925 w 1552575"/>
                  <a:gd name="connsiteY21" fmla="*/ 603250 h 863600"/>
                  <a:gd name="connsiteX22" fmla="*/ 723900 w 1552575"/>
                  <a:gd name="connsiteY22" fmla="*/ 603250 h 863600"/>
                  <a:gd name="connsiteX23" fmla="*/ 736600 w 1552575"/>
                  <a:gd name="connsiteY23" fmla="*/ 574675 h 863600"/>
                  <a:gd name="connsiteX24" fmla="*/ 733425 w 1552575"/>
                  <a:gd name="connsiteY24" fmla="*/ 542925 h 863600"/>
                  <a:gd name="connsiteX25" fmla="*/ 733425 w 1552575"/>
                  <a:gd name="connsiteY25" fmla="*/ 508000 h 863600"/>
                  <a:gd name="connsiteX26" fmla="*/ 793750 w 1552575"/>
                  <a:gd name="connsiteY26" fmla="*/ 504825 h 863600"/>
                  <a:gd name="connsiteX27" fmla="*/ 809625 w 1552575"/>
                  <a:gd name="connsiteY27" fmla="*/ 473075 h 863600"/>
                  <a:gd name="connsiteX28" fmla="*/ 857250 w 1552575"/>
                  <a:gd name="connsiteY28" fmla="*/ 431800 h 863600"/>
                  <a:gd name="connsiteX29" fmla="*/ 882650 w 1552575"/>
                  <a:gd name="connsiteY29" fmla="*/ 422275 h 863600"/>
                  <a:gd name="connsiteX30" fmla="*/ 911225 w 1552575"/>
                  <a:gd name="connsiteY30" fmla="*/ 403225 h 863600"/>
                  <a:gd name="connsiteX31" fmla="*/ 939800 w 1552575"/>
                  <a:gd name="connsiteY31" fmla="*/ 374650 h 863600"/>
                  <a:gd name="connsiteX32" fmla="*/ 974725 w 1552575"/>
                  <a:gd name="connsiteY32" fmla="*/ 377825 h 863600"/>
                  <a:gd name="connsiteX33" fmla="*/ 1012825 w 1552575"/>
                  <a:gd name="connsiteY33" fmla="*/ 371475 h 863600"/>
                  <a:gd name="connsiteX34" fmla="*/ 1050925 w 1552575"/>
                  <a:gd name="connsiteY34" fmla="*/ 387350 h 863600"/>
                  <a:gd name="connsiteX35" fmla="*/ 1111250 w 1552575"/>
                  <a:gd name="connsiteY35" fmla="*/ 387350 h 863600"/>
                  <a:gd name="connsiteX36" fmla="*/ 1146175 w 1552575"/>
                  <a:gd name="connsiteY36" fmla="*/ 374650 h 863600"/>
                  <a:gd name="connsiteX37" fmla="*/ 1222375 w 1552575"/>
                  <a:gd name="connsiteY37" fmla="*/ 304800 h 863600"/>
                  <a:gd name="connsiteX38" fmla="*/ 1235075 w 1552575"/>
                  <a:gd name="connsiteY38" fmla="*/ 250825 h 863600"/>
                  <a:gd name="connsiteX39" fmla="*/ 1292225 w 1552575"/>
                  <a:gd name="connsiteY39" fmla="*/ 222250 h 863600"/>
                  <a:gd name="connsiteX40" fmla="*/ 1447800 w 1552575"/>
                  <a:gd name="connsiteY40" fmla="*/ 155575 h 863600"/>
                  <a:gd name="connsiteX41" fmla="*/ 1473200 w 1552575"/>
                  <a:gd name="connsiteY41" fmla="*/ 111125 h 863600"/>
                  <a:gd name="connsiteX42" fmla="*/ 1473200 w 1552575"/>
                  <a:gd name="connsiteY42" fmla="*/ 92075 h 863600"/>
                  <a:gd name="connsiteX43" fmla="*/ 1508125 w 1552575"/>
                  <a:gd name="connsiteY43" fmla="*/ 57150 h 863600"/>
                  <a:gd name="connsiteX44" fmla="*/ 1552575 w 1552575"/>
                  <a:gd name="connsiteY44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539750 w 1552575"/>
                  <a:gd name="connsiteY10" fmla="*/ 654844 h 863600"/>
                  <a:gd name="connsiteX11" fmla="*/ 574675 w 1552575"/>
                  <a:gd name="connsiteY11" fmla="*/ 611187 h 863600"/>
                  <a:gd name="connsiteX12" fmla="*/ 602457 w 1552575"/>
                  <a:gd name="connsiteY12" fmla="*/ 637382 h 863600"/>
                  <a:gd name="connsiteX13" fmla="*/ 643731 w 1552575"/>
                  <a:gd name="connsiteY13" fmla="*/ 600868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568325 w 1552575"/>
                  <a:gd name="connsiteY18" fmla="*/ 765175 h 863600"/>
                  <a:gd name="connsiteX19" fmla="*/ 669925 w 1552575"/>
                  <a:gd name="connsiteY19" fmla="*/ 635000 h 863600"/>
                  <a:gd name="connsiteX20" fmla="*/ 669925 w 1552575"/>
                  <a:gd name="connsiteY20" fmla="*/ 603250 h 863600"/>
                  <a:gd name="connsiteX21" fmla="*/ 723900 w 1552575"/>
                  <a:gd name="connsiteY21" fmla="*/ 603250 h 863600"/>
                  <a:gd name="connsiteX22" fmla="*/ 736600 w 1552575"/>
                  <a:gd name="connsiteY22" fmla="*/ 574675 h 863600"/>
                  <a:gd name="connsiteX23" fmla="*/ 733425 w 1552575"/>
                  <a:gd name="connsiteY23" fmla="*/ 542925 h 863600"/>
                  <a:gd name="connsiteX24" fmla="*/ 733425 w 1552575"/>
                  <a:gd name="connsiteY24" fmla="*/ 508000 h 863600"/>
                  <a:gd name="connsiteX25" fmla="*/ 793750 w 1552575"/>
                  <a:gd name="connsiteY25" fmla="*/ 504825 h 863600"/>
                  <a:gd name="connsiteX26" fmla="*/ 809625 w 1552575"/>
                  <a:gd name="connsiteY26" fmla="*/ 473075 h 863600"/>
                  <a:gd name="connsiteX27" fmla="*/ 857250 w 1552575"/>
                  <a:gd name="connsiteY27" fmla="*/ 431800 h 863600"/>
                  <a:gd name="connsiteX28" fmla="*/ 882650 w 1552575"/>
                  <a:gd name="connsiteY28" fmla="*/ 422275 h 863600"/>
                  <a:gd name="connsiteX29" fmla="*/ 911225 w 1552575"/>
                  <a:gd name="connsiteY29" fmla="*/ 403225 h 863600"/>
                  <a:gd name="connsiteX30" fmla="*/ 939800 w 1552575"/>
                  <a:gd name="connsiteY30" fmla="*/ 374650 h 863600"/>
                  <a:gd name="connsiteX31" fmla="*/ 974725 w 1552575"/>
                  <a:gd name="connsiteY31" fmla="*/ 377825 h 863600"/>
                  <a:gd name="connsiteX32" fmla="*/ 1012825 w 1552575"/>
                  <a:gd name="connsiteY32" fmla="*/ 371475 h 863600"/>
                  <a:gd name="connsiteX33" fmla="*/ 1050925 w 1552575"/>
                  <a:gd name="connsiteY33" fmla="*/ 387350 h 863600"/>
                  <a:gd name="connsiteX34" fmla="*/ 1111250 w 1552575"/>
                  <a:gd name="connsiteY34" fmla="*/ 387350 h 863600"/>
                  <a:gd name="connsiteX35" fmla="*/ 1146175 w 1552575"/>
                  <a:gd name="connsiteY35" fmla="*/ 374650 h 863600"/>
                  <a:gd name="connsiteX36" fmla="*/ 1222375 w 1552575"/>
                  <a:gd name="connsiteY36" fmla="*/ 304800 h 863600"/>
                  <a:gd name="connsiteX37" fmla="*/ 1235075 w 1552575"/>
                  <a:gd name="connsiteY37" fmla="*/ 250825 h 863600"/>
                  <a:gd name="connsiteX38" fmla="*/ 1292225 w 1552575"/>
                  <a:gd name="connsiteY38" fmla="*/ 222250 h 863600"/>
                  <a:gd name="connsiteX39" fmla="*/ 1447800 w 1552575"/>
                  <a:gd name="connsiteY39" fmla="*/ 155575 h 863600"/>
                  <a:gd name="connsiteX40" fmla="*/ 1473200 w 1552575"/>
                  <a:gd name="connsiteY40" fmla="*/ 111125 h 863600"/>
                  <a:gd name="connsiteX41" fmla="*/ 1473200 w 1552575"/>
                  <a:gd name="connsiteY41" fmla="*/ 92075 h 863600"/>
                  <a:gd name="connsiteX42" fmla="*/ 1508125 w 1552575"/>
                  <a:gd name="connsiteY42" fmla="*/ 57150 h 863600"/>
                  <a:gd name="connsiteX43" fmla="*/ 1552575 w 1552575"/>
                  <a:gd name="connsiteY43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539750 w 1552575"/>
                  <a:gd name="connsiteY10" fmla="*/ 654844 h 863600"/>
                  <a:gd name="connsiteX11" fmla="*/ 574675 w 1552575"/>
                  <a:gd name="connsiteY11" fmla="*/ 611187 h 863600"/>
                  <a:gd name="connsiteX12" fmla="*/ 602457 w 1552575"/>
                  <a:gd name="connsiteY12" fmla="*/ 637382 h 863600"/>
                  <a:gd name="connsiteX13" fmla="*/ 643731 w 1552575"/>
                  <a:gd name="connsiteY13" fmla="*/ 600868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565150 w 1552575"/>
                  <a:gd name="connsiteY17" fmla="*/ 781050 h 863600"/>
                  <a:gd name="connsiteX18" fmla="*/ 669925 w 1552575"/>
                  <a:gd name="connsiteY18" fmla="*/ 635000 h 863600"/>
                  <a:gd name="connsiteX19" fmla="*/ 669925 w 1552575"/>
                  <a:gd name="connsiteY19" fmla="*/ 603250 h 863600"/>
                  <a:gd name="connsiteX20" fmla="*/ 723900 w 1552575"/>
                  <a:gd name="connsiteY20" fmla="*/ 603250 h 863600"/>
                  <a:gd name="connsiteX21" fmla="*/ 736600 w 1552575"/>
                  <a:gd name="connsiteY21" fmla="*/ 574675 h 863600"/>
                  <a:gd name="connsiteX22" fmla="*/ 733425 w 1552575"/>
                  <a:gd name="connsiteY22" fmla="*/ 542925 h 863600"/>
                  <a:gd name="connsiteX23" fmla="*/ 733425 w 1552575"/>
                  <a:gd name="connsiteY23" fmla="*/ 508000 h 863600"/>
                  <a:gd name="connsiteX24" fmla="*/ 793750 w 1552575"/>
                  <a:gd name="connsiteY24" fmla="*/ 504825 h 863600"/>
                  <a:gd name="connsiteX25" fmla="*/ 809625 w 1552575"/>
                  <a:gd name="connsiteY25" fmla="*/ 473075 h 863600"/>
                  <a:gd name="connsiteX26" fmla="*/ 857250 w 1552575"/>
                  <a:gd name="connsiteY26" fmla="*/ 431800 h 863600"/>
                  <a:gd name="connsiteX27" fmla="*/ 882650 w 1552575"/>
                  <a:gd name="connsiteY27" fmla="*/ 422275 h 863600"/>
                  <a:gd name="connsiteX28" fmla="*/ 911225 w 1552575"/>
                  <a:gd name="connsiteY28" fmla="*/ 403225 h 863600"/>
                  <a:gd name="connsiteX29" fmla="*/ 939800 w 1552575"/>
                  <a:gd name="connsiteY29" fmla="*/ 374650 h 863600"/>
                  <a:gd name="connsiteX30" fmla="*/ 974725 w 1552575"/>
                  <a:gd name="connsiteY30" fmla="*/ 377825 h 863600"/>
                  <a:gd name="connsiteX31" fmla="*/ 1012825 w 1552575"/>
                  <a:gd name="connsiteY31" fmla="*/ 371475 h 863600"/>
                  <a:gd name="connsiteX32" fmla="*/ 1050925 w 1552575"/>
                  <a:gd name="connsiteY32" fmla="*/ 387350 h 863600"/>
                  <a:gd name="connsiteX33" fmla="*/ 1111250 w 1552575"/>
                  <a:gd name="connsiteY33" fmla="*/ 387350 h 863600"/>
                  <a:gd name="connsiteX34" fmla="*/ 1146175 w 1552575"/>
                  <a:gd name="connsiteY34" fmla="*/ 374650 h 863600"/>
                  <a:gd name="connsiteX35" fmla="*/ 1222375 w 1552575"/>
                  <a:gd name="connsiteY35" fmla="*/ 304800 h 863600"/>
                  <a:gd name="connsiteX36" fmla="*/ 1235075 w 1552575"/>
                  <a:gd name="connsiteY36" fmla="*/ 250825 h 863600"/>
                  <a:gd name="connsiteX37" fmla="*/ 1292225 w 1552575"/>
                  <a:gd name="connsiteY37" fmla="*/ 222250 h 863600"/>
                  <a:gd name="connsiteX38" fmla="*/ 1447800 w 1552575"/>
                  <a:gd name="connsiteY38" fmla="*/ 155575 h 863600"/>
                  <a:gd name="connsiteX39" fmla="*/ 1473200 w 1552575"/>
                  <a:gd name="connsiteY39" fmla="*/ 111125 h 863600"/>
                  <a:gd name="connsiteX40" fmla="*/ 1473200 w 1552575"/>
                  <a:gd name="connsiteY40" fmla="*/ 92075 h 863600"/>
                  <a:gd name="connsiteX41" fmla="*/ 1508125 w 1552575"/>
                  <a:gd name="connsiteY41" fmla="*/ 57150 h 863600"/>
                  <a:gd name="connsiteX42" fmla="*/ 1552575 w 1552575"/>
                  <a:gd name="connsiteY42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539750 w 1552575"/>
                  <a:gd name="connsiteY10" fmla="*/ 654844 h 863600"/>
                  <a:gd name="connsiteX11" fmla="*/ 574675 w 1552575"/>
                  <a:gd name="connsiteY11" fmla="*/ 611187 h 863600"/>
                  <a:gd name="connsiteX12" fmla="*/ 602457 w 1552575"/>
                  <a:gd name="connsiteY12" fmla="*/ 637382 h 863600"/>
                  <a:gd name="connsiteX13" fmla="*/ 643731 w 1552575"/>
                  <a:gd name="connsiteY13" fmla="*/ 600868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530225 w 1552575"/>
                  <a:gd name="connsiteY16" fmla="*/ 809625 h 863600"/>
                  <a:gd name="connsiteX17" fmla="*/ 669925 w 1552575"/>
                  <a:gd name="connsiteY17" fmla="*/ 635000 h 863600"/>
                  <a:gd name="connsiteX18" fmla="*/ 669925 w 1552575"/>
                  <a:gd name="connsiteY18" fmla="*/ 603250 h 863600"/>
                  <a:gd name="connsiteX19" fmla="*/ 723900 w 1552575"/>
                  <a:gd name="connsiteY19" fmla="*/ 603250 h 863600"/>
                  <a:gd name="connsiteX20" fmla="*/ 736600 w 1552575"/>
                  <a:gd name="connsiteY20" fmla="*/ 574675 h 863600"/>
                  <a:gd name="connsiteX21" fmla="*/ 733425 w 1552575"/>
                  <a:gd name="connsiteY21" fmla="*/ 542925 h 863600"/>
                  <a:gd name="connsiteX22" fmla="*/ 733425 w 1552575"/>
                  <a:gd name="connsiteY22" fmla="*/ 508000 h 863600"/>
                  <a:gd name="connsiteX23" fmla="*/ 793750 w 1552575"/>
                  <a:gd name="connsiteY23" fmla="*/ 504825 h 863600"/>
                  <a:gd name="connsiteX24" fmla="*/ 809625 w 1552575"/>
                  <a:gd name="connsiteY24" fmla="*/ 473075 h 863600"/>
                  <a:gd name="connsiteX25" fmla="*/ 857250 w 1552575"/>
                  <a:gd name="connsiteY25" fmla="*/ 431800 h 863600"/>
                  <a:gd name="connsiteX26" fmla="*/ 882650 w 1552575"/>
                  <a:gd name="connsiteY26" fmla="*/ 422275 h 863600"/>
                  <a:gd name="connsiteX27" fmla="*/ 911225 w 1552575"/>
                  <a:gd name="connsiteY27" fmla="*/ 403225 h 863600"/>
                  <a:gd name="connsiteX28" fmla="*/ 939800 w 1552575"/>
                  <a:gd name="connsiteY28" fmla="*/ 374650 h 863600"/>
                  <a:gd name="connsiteX29" fmla="*/ 974725 w 1552575"/>
                  <a:gd name="connsiteY29" fmla="*/ 377825 h 863600"/>
                  <a:gd name="connsiteX30" fmla="*/ 1012825 w 1552575"/>
                  <a:gd name="connsiteY30" fmla="*/ 371475 h 863600"/>
                  <a:gd name="connsiteX31" fmla="*/ 1050925 w 1552575"/>
                  <a:gd name="connsiteY31" fmla="*/ 387350 h 863600"/>
                  <a:gd name="connsiteX32" fmla="*/ 1111250 w 1552575"/>
                  <a:gd name="connsiteY32" fmla="*/ 387350 h 863600"/>
                  <a:gd name="connsiteX33" fmla="*/ 1146175 w 1552575"/>
                  <a:gd name="connsiteY33" fmla="*/ 374650 h 863600"/>
                  <a:gd name="connsiteX34" fmla="*/ 1222375 w 1552575"/>
                  <a:gd name="connsiteY34" fmla="*/ 304800 h 863600"/>
                  <a:gd name="connsiteX35" fmla="*/ 1235075 w 1552575"/>
                  <a:gd name="connsiteY35" fmla="*/ 250825 h 863600"/>
                  <a:gd name="connsiteX36" fmla="*/ 1292225 w 1552575"/>
                  <a:gd name="connsiteY36" fmla="*/ 222250 h 863600"/>
                  <a:gd name="connsiteX37" fmla="*/ 1447800 w 1552575"/>
                  <a:gd name="connsiteY37" fmla="*/ 155575 h 863600"/>
                  <a:gd name="connsiteX38" fmla="*/ 1473200 w 1552575"/>
                  <a:gd name="connsiteY38" fmla="*/ 111125 h 863600"/>
                  <a:gd name="connsiteX39" fmla="*/ 1473200 w 1552575"/>
                  <a:gd name="connsiteY39" fmla="*/ 92075 h 863600"/>
                  <a:gd name="connsiteX40" fmla="*/ 1508125 w 1552575"/>
                  <a:gd name="connsiteY40" fmla="*/ 57150 h 863600"/>
                  <a:gd name="connsiteX41" fmla="*/ 1552575 w 1552575"/>
                  <a:gd name="connsiteY41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539750 w 1552575"/>
                  <a:gd name="connsiteY10" fmla="*/ 654844 h 863600"/>
                  <a:gd name="connsiteX11" fmla="*/ 574675 w 1552575"/>
                  <a:gd name="connsiteY11" fmla="*/ 611187 h 863600"/>
                  <a:gd name="connsiteX12" fmla="*/ 602457 w 1552575"/>
                  <a:gd name="connsiteY12" fmla="*/ 637382 h 863600"/>
                  <a:gd name="connsiteX13" fmla="*/ 643731 w 1552575"/>
                  <a:gd name="connsiteY13" fmla="*/ 600868 h 863600"/>
                  <a:gd name="connsiteX14" fmla="*/ 473075 w 1552575"/>
                  <a:gd name="connsiteY14" fmla="*/ 863600 h 863600"/>
                  <a:gd name="connsiteX15" fmla="*/ 488950 w 1552575"/>
                  <a:gd name="connsiteY15" fmla="*/ 850900 h 863600"/>
                  <a:gd name="connsiteX16" fmla="*/ 669925 w 1552575"/>
                  <a:gd name="connsiteY16" fmla="*/ 635000 h 863600"/>
                  <a:gd name="connsiteX17" fmla="*/ 669925 w 1552575"/>
                  <a:gd name="connsiteY17" fmla="*/ 603250 h 863600"/>
                  <a:gd name="connsiteX18" fmla="*/ 723900 w 1552575"/>
                  <a:gd name="connsiteY18" fmla="*/ 603250 h 863600"/>
                  <a:gd name="connsiteX19" fmla="*/ 736600 w 1552575"/>
                  <a:gd name="connsiteY19" fmla="*/ 574675 h 863600"/>
                  <a:gd name="connsiteX20" fmla="*/ 733425 w 1552575"/>
                  <a:gd name="connsiteY20" fmla="*/ 542925 h 863600"/>
                  <a:gd name="connsiteX21" fmla="*/ 733425 w 1552575"/>
                  <a:gd name="connsiteY21" fmla="*/ 508000 h 863600"/>
                  <a:gd name="connsiteX22" fmla="*/ 793750 w 1552575"/>
                  <a:gd name="connsiteY22" fmla="*/ 504825 h 863600"/>
                  <a:gd name="connsiteX23" fmla="*/ 809625 w 1552575"/>
                  <a:gd name="connsiteY23" fmla="*/ 473075 h 863600"/>
                  <a:gd name="connsiteX24" fmla="*/ 857250 w 1552575"/>
                  <a:gd name="connsiteY24" fmla="*/ 431800 h 863600"/>
                  <a:gd name="connsiteX25" fmla="*/ 882650 w 1552575"/>
                  <a:gd name="connsiteY25" fmla="*/ 422275 h 863600"/>
                  <a:gd name="connsiteX26" fmla="*/ 911225 w 1552575"/>
                  <a:gd name="connsiteY26" fmla="*/ 403225 h 863600"/>
                  <a:gd name="connsiteX27" fmla="*/ 939800 w 1552575"/>
                  <a:gd name="connsiteY27" fmla="*/ 374650 h 863600"/>
                  <a:gd name="connsiteX28" fmla="*/ 974725 w 1552575"/>
                  <a:gd name="connsiteY28" fmla="*/ 377825 h 863600"/>
                  <a:gd name="connsiteX29" fmla="*/ 1012825 w 1552575"/>
                  <a:gd name="connsiteY29" fmla="*/ 371475 h 863600"/>
                  <a:gd name="connsiteX30" fmla="*/ 1050925 w 1552575"/>
                  <a:gd name="connsiteY30" fmla="*/ 387350 h 863600"/>
                  <a:gd name="connsiteX31" fmla="*/ 1111250 w 1552575"/>
                  <a:gd name="connsiteY31" fmla="*/ 387350 h 863600"/>
                  <a:gd name="connsiteX32" fmla="*/ 1146175 w 1552575"/>
                  <a:gd name="connsiteY32" fmla="*/ 374650 h 863600"/>
                  <a:gd name="connsiteX33" fmla="*/ 1222375 w 1552575"/>
                  <a:gd name="connsiteY33" fmla="*/ 304800 h 863600"/>
                  <a:gd name="connsiteX34" fmla="*/ 1235075 w 1552575"/>
                  <a:gd name="connsiteY34" fmla="*/ 250825 h 863600"/>
                  <a:gd name="connsiteX35" fmla="*/ 1292225 w 1552575"/>
                  <a:gd name="connsiteY35" fmla="*/ 222250 h 863600"/>
                  <a:gd name="connsiteX36" fmla="*/ 1447800 w 1552575"/>
                  <a:gd name="connsiteY36" fmla="*/ 155575 h 863600"/>
                  <a:gd name="connsiteX37" fmla="*/ 1473200 w 1552575"/>
                  <a:gd name="connsiteY37" fmla="*/ 111125 h 863600"/>
                  <a:gd name="connsiteX38" fmla="*/ 1473200 w 1552575"/>
                  <a:gd name="connsiteY38" fmla="*/ 92075 h 863600"/>
                  <a:gd name="connsiteX39" fmla="*/ 1508125 w 1552575"/>
                  <a:gd name="connsiteY39" fmla="*/ 57150 h 863600"/>
                  <a:gd name="connsiteX40" fmla="*/ 1552575 w 1552575"/>
                  <a:gd name="connsiteY40" fmla="*/ 0 h 863600"/>
                  <a:gd name="connsiteX0" fmla="*/ 0 w 1552575"/>
                  <a:gd name="connsiteY0" fmla="*/ 501650 h 863600"/>
                  <a:gd name="connsiteX1" fmla="*/ 111125 w 1552575"/>
                  <a:gd name="connsiteY1" fmla="*/ 558800 h 863600"/>
                  <a:gd name="connsiteX2" fmla="*/ 136525 w 1552575"/>
                  <a:gd name="connsiteY2" fmla="*/ 565150 h 863600"/>
                  <a:gd name="connsiteX3" fmla="*/ 187325 w 1552575"/>
                  <a:gd name="connsiteY3" fmla="*/ 581025 h 863600"/>
                  <a:gd name="connsiteX4" fmla="*/ 203200 w 1552575"/>
                  <a:gd name="connsiteY4" fmla="*/ 631825 h 863600"/>
                  <a:gd name="connsiteX5" fmla="*/ 244475 w 1552575"/>
                  <a:gd name="connsiteY5" fmla="*/ 644525 h 863600"/>
                  <a:gd name="connsiteX6" fmla="*/ 276225 w 1552575"/>
                  <a:gd name="connsiteY6" fmla="*/ 676275 h 863600"/>
                  <a:gd name="connsiteX7" fmla="*/ 357188 w 1552575"/>
                  <a:gd name="connsiteY7" fmla="*/ 677069 h 863600"/>
                  <a:gd name="connsiteX8" fmla="*/ 422275 w 1552575"/>
                  <a:gd name="connsiteY8" fmla="*/ 665957 h 863600"/>
                  <a:gd name="connsiteX9" fmla="*/ 493712 w 1552575"/>
                  <a:gd name="connsiteY9" fmla="*/ 644525 h 863600"/>
                  <a:gd name="connsiteX10" fmla="*/ 539750 w 1552575"/>
                  <a:gd name="connsiteY10" fmla="*/ 654844 h 863600"/>
                  <a:gd name="connsiteX11" fmla="*/ 574675 w 1552575"/>
                  <a:gd name="connsiteY11" fmla="*/ 611187 h 863600"/>
                  <a:gd name="connsiteX12" fmla="*/ 602457 w 1552575"/>
                  <a:gd name="connsiteY12" fmla="*/ 637382 h 863600"/>
                  <a:gd name="connsiteX13" fmla="*/ 643731 w 1552575"/>
                  <a:gd name="connsiteY13" fmla="*/ 600868 h 863600"/>
                  <a:gd name="connsiteX14" fmla="*/ 473075 w 1552575"/>
                  <a:gd name="connsiteY14" fmla="*/ 863600 h 863600"/>
                  <a:gd name="connsiteX15" fmla="*/ 669925 w 1552575"/>
                  <a:gd name="connsiteY15" fmla="*/ 635000 h 863600"/>
                  <a:gd name="connsiteX16" fmla="*/ 669925 w 1552575"/>
                  <a:gd name="connsiteY16" fmla="*/ 603250 h 863600"/>
                  <a:gd name="connsiteX17" fmla="*/ 723900 w 1552575"/>
                  <a:gd name="connsiteY17" fmla="*/ 603250 h 863600"/>
                  <a:gd name="connsiteX18" fmla="*/ 736600 w 1552575"/>
                  <a:gd name="connsiteY18" fmla="*/ 574675 h 863600"/>
                  <a:gd name="connsiteX19" fmla="*/ 733425 w 1552575"/>
                  <a:gd name="connsiteY19" fmla="*/ 542925 h 863600"/>
                  <a:gd name="connsiteX20" fmla="*/ 733425 w 1552575"/>
                  <a:gd name="connsiteY20" fmla="*/ 508000 h 863600"/>
                  <a:gd name="connsiteX21" fmla="*/ 793750 w 1552575"/>
                  <a:gd name="connsiteY21" fmla="*/ 504825 h 863600"/>
                  <a:gd name="connsiteX22" fmla="*/ 809625 w 1552575"/>
                  <a:gd name="connsiteY22" fmla="*/ 473075 h 863600"/>
                  <a:gd name="connsiteX23" fmla="*/ 857250 w 1552575"/>
                  <a:gd name="connsiteY23" fmla="*/ 431800 h 863600"/>
                  <a:gd name="connsiteX24" fmla="*/ 882650 w 1552575"/>
                  <a:gd name="connsiteY24" fmla="*/ 422275 h 863600"/>
                  <a:gd name="connsiteX25" fmla="*/ 911225 w 1552575"/>
                  <a:gd name="connsiteY25" fmla="*/ 403225 h 863600"/>
                  <a:gd name="connsiteX26" fmla="*/ 939800 w 1552575"/>
                  <a:gd name="connsiteY26" fmla="*/ 374650 h 863600"/>
                  <a:gd name="connsiteX27" fmla="*/ 974725 w 1552575"/>
                  <a:gd name="connsiteY27" fmla="*/ 377825 h 863600"/>
                  <a:gd name="connsiteX28" fmla="*/ 1012825 w 1552575"/>
                  <a:gd name="connsiteY28" fmla="*/ 371475 h 863600"/>
                  <a:gd name="connsiteX29" fmla="*/ 1050925 w 1552575"/>
                  <a:gd name="connsiteY29" fmla="*/ 387350 h 863600"/>
                  <a:gd name="connsiteX30" fmla="*/ 1111250 w 1552575"/>
                  <a:gd name="connsiteY30" fmla="*/ 387350 h 863600"/>
                  <a:gd name="connsiteX31" fmla="*/ 1146175 w 1552575"/>
                  <a:gd name="connsiteY31" fmla="*/ 374650 h 863600"/>
                  <a:gd name="connsiteX32" fmla="*/ 1222375 w 1552575"/>
                  <a:gd name="connsiteY32" fmla="*/ 304800 h 863600"/>
                  <a:gd name="connsiteX33" fmla="*/ 1235075 w 1552575"/>
                  <a:gd name="connsiteY33" fmla="*/ 250825 h 863600"/>
                  <a:gd name="connsiteX34" fmla="*/ 1292225 w 1552575"/>
                  <a:gd name="connsiteY34" fmla="*/ 222250 h 863600"/>
                  <a:gd name="connsiteX35" fmla="*/ 1447800 w 1552575"/>
                  <a:gd name="connsiteY35" fmla="*/ 155575 h 863600"/>
                  <a:gd name="connsiteX36" fmla="*/ 1473200 w 1552575"/>
                  <a:gd name="connsiteY36" fmla="*/ 111125 h 863600"/>
                  <a:gd name="connsiteX37" fmla="*/ 1473200 w 1552575"/>
                  <a:gd name="connsiteY37" fmla="*/ 92075 h 863600"/>
                  <a:gd name="connsiteX38" fmla="*/ 1508125 w 1552575"/>
                  <a:gd name="connsiteY38" fmla="*/ 57150 h 863600"/>
                  <a:gd name="connsiteX39" fmla="*/ 1552575 w 1552575"/>
                  <a:gd name="connsiteY39" fmla="*/ 0 h 863600"/>
                  <a:gd name="connsiteX0" fmla="*/ 0 w 1552575"/>
                  <a:gd name="connsiteY0" fmla="*/ 501650 h 677069"/>
                  <a:gd name="connsiteX1" fmla="*/ 111125 w 1552575"/>
                  <a:gd name="connsiteY1" fmla="*/ 558800 h 677069"/>
                  <a:gd name="connsiteX2" fmla="*/ 136525 w 1552575"/>
                  <a:gd name="connsiteY2" fmla="*/ 565150 h 677069"/>
                  <a:gd name="connsiteX3" fmla="*/ 187325 w 1552575"/>
                  <a:gd name="connsiteY3" fmla="*/ 581025 h 677069"/>
                  <a:gd name="connsiteX4" fmla="*/ 203200 w 1552575"/>
                  <a:gd name="connsiteY4" fmla="*/ 631825 h 677069"/>
                  <a:gd name="connsiteX5" fmla="*/ 244475 w 1552575"/>
                  <a:gd name="connsiteY5" fmla="*/ 644525 h 677069"/>
                  <a:gd name="connsiteX6" fmla="*/ 276225 w 1552575"/>
                  <a:gd name="connsiteY6" fmla="*/ 676275 h 677069"/>
                  <a:gd name="connsiteX7" fmla="*/ 357188 w 1552575"/>
                  <a:gd name="connsiteY7" fmla="*/ 677069 h 677069"/>
                  <a:gd name="connsiteX8" fmla="*/ 422275 w 1552575"/>
                  <a:gd name="connsiteY8" fmla="*/ 665957 h 677069"/>
                  <a:gd name="connsiteX9" fmla="*/ 493712 w 1552575"/>
                  <a:gd name="connsiteY9" fmla="*/ 644525 h 677069"/>
                  <a:gd name="connsiteX10" fmla="*/ 539750 w 1552575"/>
                  <a:gd name="connsiteY10" fmla="*/ 654844 h 677069"/>
                  <a:gd name="connsiteX11" fmla="*/ 574675 w 1552575"/>
                  <a:gd name="connsiteY11" fmla="*/ 611187 h 677069"/>
                  <a:gd name="connsiteX12" fmla="*/ 602457 w 1552575"/>
                  <a:gd name="connsiteY12" fmla="*/ 637382 h 677069"/>
                  <a:gd name="connsiteX13" fmla="*/ 643731 w 1552575"/>
                  <a:gd name="connsiteY13" fmla="*/ 600868 h 677069"/>
                  <a:gd name="connsiteX14" fmla="*/ 669925 w 1552575"/>
                  <a:gd name="connsiteY14" fmla="*/ 635000 h 677069"/>
                  <a:gd name="connsiteX15" fmla="*/ 669925 w 1552575"/>
                  <a:gd name="connsiteY15" fmla="*/ 603250 h 677069"/>
                  <a:gd name="connsiteX16" fmla="*/ 723900 w 1552575"/>
                  <a:gd name="connsiteY16" fmla="*/ 603250 h 677069"/>
                  <a:gd name="connsiteX17" fmla="*/ 736600 w 1552575"/>
                  <a:gd name="connsiteY17" fmla="*/ 574675 h 677069"/>
                  <a:gd name="connsiteX18" fmla="*/ 733425 w 1552575"/>
                  <a:gd name="connsiteY18" fmla="*/ 542925 h 677069"/>
                  <a:gd name="connsiteX19" fmla="*/ 733425 w 1552575"/>
                  <a:gd name="connsiteY19" fmla="*/ 508000 h 677069"/>
                  <a:gd name="connsiteX20" fmla="*/ 793750 w 1552575"/>
                  <a:gd name="connsiteY20" fmla="*/ 504825 h 677069"/>
                  <a:gd name="connsiteX21" fmla="*/ 809625 w 1552575"/>
                  <a:gd name="connsiteY21" fmla="*/ 473075 h 677069"/>
                  <a:gd name="connsiteX22" fmla="*/ 857250 w 1552575"/>
                  <a:gd name="connsiteY22" fmla="*/ 431800 h 677069"/>
                  <a:gd name="connsiteX23" fmla="*/ 882650 w 1552575"/>
                  <a:gd name="connsiteY23" fmla="*/ 422275 h 677069"/>
                  <a:gd name="connsiteX24" fmla="*/ 911225 w 1552575"/>
                  <a:gd name="connsiteY24" fmla="*/ 403225 h 677069"/>
                  <a:gd name="connsiteX25" fmla="*/ 939800 w 1552575"/>
                  <a:gd name="connsiteY25" fmla="*/ 374650 h 677069"/>
                  <a:gd name="connsiteX26" fmla="*/ 974725 w 1552575"/>
                  <a:gd name="connsiteY26" fmla="*/ 377825 h 677069"/>
                  <a:gd name="connsiteX27" fmla="*/ 1012825 w 1552575"/>
                  <a:gd name="connsiteY27" fmla="*/ 371475 h 677069"/>
                  <a:gd name="connsiteX28" fmla="*/ 1050925 w 1552575"/>
                  <a:gd name="connsiteY28" fmla="*/ 387350 h 677069"/>
                  <a:gd name="connsiteX29" fmla="*/ 1111250 w 1552575"/>
                  <a:gd name="connsiteY29" fmla="*/ 387350 h 677069"/>
                  <a:gd name="connsiteX30" fmla="*/ 1146175 w 1552575"/>
                  <a:gd name="connsiteY30" fmla="*/ 374650 h 677069"/>
                  <a:gd name="connsiteX31" fmla="*/ 1222375 w 1552575"/>
                  <a:gd name="connsiteY31" fmla="*/ 304800 h 677069"/>
                  <a:gd name="connsiteX32" fmla="*/ 1235075 w 1552575"/>
                  <a:gd name="connsiteY32" fmla="*/ 250825 h 677069"/>
                  <a:gd name="connsiteX33" fmla="*/ 1292225 w 1552575"/>
                  <a:gd name="connsiteY33" fmla="*/ 222250 h 677069"/>
                  <a:gd name="connsiteX34" fmla="*/ 1447800 w 1552575"/>
                  <a:gd name="connsiteY34" fmla="*/ 155575 h 677069"/>
                  <a:gd name="connsiteX35" fmla="*/ 1473200 w 1552575"/>
                  <a:gd name="connsiteY35" fmla="*/ 111125 h 677069"/>
                  <a:gd name="connsiteX36" fmla="*/ 1473200 w 1552575"/>
                  <a:gd name="connsiteY36" fmla="*/ 92075 h 677069"/>
                  <a:gd name="connsiteX37" fmla="*/ 1508125 w 1552575"/>
                  <a:gd name="connsiteY37" fmla="*/ 57150 h 677069"/>
                  <a:gd name="connsiteX38" fmla="*/ 1552575 w 1552575"/>
                  <a:gd name="connsiteY38" fmla="*/ 0 h 677069"/>
                  <a:gd name="connsiteX0" fmla="*/ 0 w 1562100"/>
                  <a:gd name="connsiteY0" fmla="*/ 506412 h 681831"/>
                  <a:gd name="connsiteX1" fmla="*/ 111125 w 1562100"/>
                  <a:gd name="connsiteY1" fmla="*/ 563562 h 681831"/>
                  <a:gd name="connsiteX2" fmla="*/ 136525 w 1562100"/>
                  <a:gd name="connsiteY2" fmla="*/ 569912 h 681831"/>
                  <a:gd name="connsiteX3" fmla="*/ 187325 w 1562100"/>
                  <a:gd name="connsiteY3" fmla="*/ 585787 h 681831"/>
                  <a:gd name="connsiteX4" fmla="*/ 203200 w 1562100"/>
                  <a:gd name="connsiteY4" fmla="*/ 636587 h 681831"/>
                  <a:gd name="connsiteX5" fmla="*/ 244475 w 1562100"/>
                  <a:gd name="connsiteY5" fmla="*/ 649287 h 681831"/>
                  <a:gd name="connsiteX6" fmla="*/ 276225 w 1562100"/>
                  <a:gd name="connsiteY6" fmla="*/ 681037 h 681831"/>
                  <a:gd name="connsiteX7" fmla="*/ 357188 w 1562100"/>
                  <a:gd name="connsiteY7" fmla="*/ 681831 h 681831"/>
                  <a:gd name="connsiteX8" fmla="*/ 422275 w 1562100"/>
                  <a:gd name="connsiteY8" fmla="*/ 670719 h 681831"/>
                  <a:gd name="connsiteX9" fmla="*/ 493712 w 1562100"/>
                  <a:gd name="connsiteY9" fmla="*/ 649287 h 681831"/>
                  <a:gd name="connsiteX10" fmla="*/ 539750 w 1562100"/>
                  <a:gd name="connsiteY10" fmla="*/ 659606 h 681831"/>
                  <a:gd name="connsiteX11" fmla="*/ 574675 w 1562100"/>
                  <a:gd name="connsiteY11" fmla="*/ 615949 h 681831"/>
                  <a:gd name="connsiteX12" fmla="*/ 602457 w 1562100"/>
                  <a:gd name="connsiteY12" fmla="*/ 642144 h 681831"/>
                  <a:gd name="connsiteX13" fmla="*/ 643731 w 1562100"/>
                  <a:gd name="connsiteY13" fmla="*/ 605630 h 681831"/>
                  <a:gd name="connsiteX14" fmla="*/ 669925 w 1562100"/>
                  <a:gd name="connsiteY14" fmla="*/ 639762 h 681831"/>
                  <a:gd name="connsiteX15" fmla="*/ 669925 w 1562100"/>
                  <a:gd name="connsiteY15" fmla="*/ 608012 h 681831"/>
                  <a:gd name="connsiteX16" fmla="*/ 723900 w 1562100"/>
                  <a:gd name="connsiteY16" fmla="*/ 608012 h 681831"/>
                  <a:gd name="connsiteX17" fmla="*/ 736600 w 1562100"/>
                  <a:gd name="connsiteY17" fmla="*/ 579437 h 681831"/>
                  <a:gd name="connsiteX18" fmla="*/ 733425 w 1562100"/>
                  <a:gd name="connsiteY18" fmla="*/ 547687 h 681831"/>
                  <a:gd name="connsiteX19" fmla="*/ 733425 w 1562100"/>
                  <a:gd name="connsiteY19" fmla="*/ 512762 h 681831"/>
                  <a:gd name="connsiteX20" fmla="*/ 793750 w 1562100"/>
                  <a:gd name="connsiteY20" fmla="*/ 509587 h 681831"/>
                  <a:gd name="connsiteX21" fmla="*/ 809625 w 1562100"/>
                  <a:gd name="connsiteY21" fmla="*/ 477837 h 681831"/>
                  <a:gd name="connsiteX22" fmla="*/ 857250 w 1562100"/>
                  <a:gd name="connsiteY22" fmla="*/ 436562 h 681831"/>
                  <a:gd name="connsiteX23" fmla="*/ 882650 w 1562100"/>
                  <a:gd name="connsiteY23" fmla="*/ 427037 h 681831"/>
                  <a:gd name="connsiteX24" fmla="*/ 911225 w 1562100"/>
                  <a:gd name="connsiteY24" fmla="*/ 407987 h 681831"/>
                  <a:gd name="connsiteX25" fmla="*/ 939800 w 1562100"/>
                  <a:gd name="connsiteY25" fmla="*/ 379412 h 681831"/>
                  <a:gd name="connsiteX26" fmla="*/ 974725 w 1562100"/>
                  <a:gd name="connsiteY26" fmla="*/ 382587 h 681831"/>
                  <a:gd name="connsiteX27" fmla="*/ 1012825 w 1562100"/>
                  <a:gd name="connsiteY27" fmla="*/ 376237 h 681831"/>
                  <a:gd name="connsiteX28" fmla="*/ 1050925 w 1562100"/>
                  <a:gd name="connsiteY28" fmla="*/ 392112 h 681831"/>
                  <a:gd name="connsiteX29" fmla="*/ 1111250 w 1562100"/>
                  <a:gd name="connsiteY29" fmla="*/ 392112 h 681831"/>
                  <a:gd name="connsiteX30" fmla="*/ 1146175 w 1562100"/>
                  <a:gd name="connsiteY30" fmla="*/ 379412 h 681831"/>
                  <a:gd name="connsiteX31" fmla="*/ 1222375 w 1562100"/>
                  <a:gd name="connsiteY31" fmla="*/ 309562 h 681831"/>
                  <a:gd name="connsiteX32" fmla="*/ 1235075 w 1562100"/>
                  <a:gd name="connsiteY32" fmla="*/ 255587 h 681831"/>
                  <a:gd name="connsiteX33" fmla="*/ 1292225 w 1562100"/>
                  <a:gd name="connsiteY33" fmla="*/ 227012 h 681831"/>
                  <a:gd name="connsiteX34" fmla="*/ 1447800 w 1562100"/>
                  <a:gd name="connsiteY34" fmla="*/ 160337 h 681831"/>
                  <a:gd name="connsiteX35" fmla="*/ 1473200 w 1562100"/>
                  <a:gd name="connsiteY35" fmla="*/ 115887 h 681831"/>
                  <a:gd name="connsiteX36" fmla="*/ 1473200 w 1562100"/>
                  <a:gd name="connsiteY36" fmla="*/ 96837 h 681831"/>
                  <a:gd name="connsiteX37" fmla="*/ 1508125 w 1562100"/>
                  <a:gd name="connsiteY37" fmla="*/ 61912 h 681831"/>
                  <a:gd name="connsiteX38" fmla="*/ 1562100 w 1562100"/>
                  <a:gd name="connsiteY38" fmla="*/ 0 h 681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562100" h="681831">
                    <a:moveTo>
                      <a:pt x="0" y="506412"/>
                    </a:moveTo>
                    <a:lnTo>
                      <a:pt x="111125" y="563562"/>
                    </a:lnTo>
                    <a:lnTo>
                      <a:pt x="136525" y="569912"/>
                    </a:lnTo>
                    <a:lnTo>
                      <a:pt x="187325" y="585787"/>
                    </a:lnTo>
                    <a:lnTo>
                      <a:pt x="203200" y="636587"/>
                    </a:lnTo>
                    <a:lnTo>
                      <a:pt x="244475" y="649287"/>
                    </a:lnTo>
                    <a:lnTo>
                      <a:pt x="276225" y="681037"/>
                    </a:lnTo>
                    <a:lnTo>
                      <a:pt x="357188" y="681831"/>
                    </a:lnTo>
                    <a:lnTo>
                      <a:pt x="422275" y="670719"/>
                    </a:lnTo>
                    <a:lnTo>
                      <a:pt x="493712" y="649287"/>
                    </a:lnTo>
                    <a:lnTo>
                      <a:pt x="539750" y="659606"/>
                    </a:lnTo>
                    <a:lnTo>
                      <a:pt x="574675" y="615949"/>
                    </a:lnTo>
                    <a:lnTo>
                      <a:pt x="602457" y="642144"/>
                    </a:lnTo>
                    <a:lnTo>
                      <a:pt x="643731" y="605630"/>
                    </a:lnTo>
                    <a:lnTo>
                      <a:pt x="669925" y="639762"/>
                    </a:lnTo>
                    <a:lnTo>
                      <a:pt x="669925" y="608012"/>
                    </a:lnTo>
                    <a:lnTo>
                      <a:pt x="723900" y="608012"/>
                    </a:lnTo>
                    <a:lnTo>
                      <a:pt x="736600" y="579437"/>
                    </a:lnTo>
                    <a:lnTo>
                      <a:pt x="733425" y="547687"/>
                    </a:lnTo>
                    <a:lnTo>
                      <a:pt x="733425" y="512762"/>
                    </a:lnTo>
                    <a:lnTo>
                      <a:pt x="793750" y="509587"/>
                    </a:lnTo>
                    <a:lnTo>
                      <a:pt x="809625" y="477837"/>
                    </a:lnTo>
                    <a:lnTo>
                      <a:pt x="857250" y="436562"/>
                    </a:lnTo>
                    <a:lnTo>
                      <a:pt x="882650" y="427037"/>
                    </a:lnTo>
                    <a:lnTo>
                      <a:pt x="911225" y="407987"/>
                    </a:lnTo>
                    <a:lnTo>
                      <a:pt x="939800" y="379412"/>
                    </a:lnTo>
                    <a:lnTo>
                      <a:pt x="974725" y="382587"/>
                    </a:lnTo>
                    <a:lnTo>
                      <a:pt x="1012825" y="376237"/>
                    </a:lnTo>
                    <a:lnTo>
                      <a:pt x="1050925" y="392112"/>
                    </a:lnTo>
                    <a:lnTo>
                      <a:pt x="1111250" y="392112"/>
                    </a:lnTo>
                    <a:lnTo>
                      <a:pt x="1146175" y="379412"/>
                    </a:lnTo>
                    <a:lnTo>
                      <a:pt x="1222375" y="309562"/>
                    </a:lnTo>
                    <a:lnTo>
                      <a:pt x="1235075" y="255587"/>
                    </a:lnTo>
                    <a:lnTo>
                      <a:pt x="1292225" y="227012"/>
                    </a:lnTo>
                    <a:lnTo>
                      <a:pt x="1447800" y="160337"/>
                    </a:lnTo>
                    <a:lnTo>
                      <a:pt x="1473200" y="115887"/>
                    </a:lnTo>
                    <a:lnTo>
                      <a:pt x="1473200" y="96837"/>
                    </a:lnTo>
                    <a:lnTo>
                      <a:pt x="1508125" y="61912"/>
                    </a:lnTo>
                    <a:cubicBezTo>
                      <a:pt x="1522942" y="42862"/>
                      <a:pt x="1547283" y="19050"/>
                      <a:pt x="1562100" y="0"/>
                    </a:cubicBezTo>
                  </a:path>
                </a:pathLst>
              </a:custGeom>
              <a:noFill/>
              <a:ln w="25400" cap="flat" cmpd="sng" algn="ctr">
                <a:solidFill>
                  <a:srgbClr val="FF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12191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41" name="Isosceles Triangle 137"/>
            <p:cNvSpPr/>
            <p:nvPr/>
          </p:nvSpPr>
          <p:spPr>
            <a:xfrm>
              <a:off x="5576077" y="3675703"/>
              <a:ext cx="229235" cy="193363"/>
            </a:xfrm>
            <a:prstGeom prst="triangle">
              <a:avLst/>
            </a:prstGeom>
            <a:solidFill>
              <a:srgbClr val="F79646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kern="0" dirty="0">
                  <a:solidFill>
                    <a:prstClr val="white"/>
                  </a:solidFill>
                  <a:latin typeface="Calibri"/>
                </a:rPr>
                <a:t>5</a:t>
              </a:r>
            </a:p>
          </p:txBody>
        </p:sp>
        <p:sp>
          <p:nvSpPr>
            <p:cNvPr id="42" name="Flowchart: Decision 206"/>
            <p:cNvSpPr/>
            <p:nvPr/>
          </p:nvSpPr>
          <p:spPr>
            <a:xfrm>
              <a:off x="1143275" y="4732662"/>
              <a:ext cx="198036" cy="197988"/>
            </a:xfrm>
            <a:prstGeom prst="flowChartDecision">
              <a:avLst/>
            </a:prstGeom>
            <a:solidFill>
              <a:srgbClr val="FFFF00"/>
            </a:solidFill>
            <a:ln w="635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b="1" kern="0" dirty="0">
                  <a:solidFill>
                    <a:prstClr val="black"/>
                  </a:solidFill>
                  <a:latin typeface="Calibri"/>
                </a:rPr>
                <a:t>1</a:t>
              </a:r>
            </a:p>
          </p:txBody>
        </p:sp>
        <p:sp>
          <p:nvSpPr>
            <p:cNvPr id="43" name="Isosceles Triangle 214"/>
            <p:cNvSpPr/>
            <p:nvPr/>
          </p:nvSpPr>
          <p:spPr>
            <a:xfrm>
              <a:off x="1282119" y="4731741"/>
              <a:ext cx="229235" cy="193363"/>
            </a:xfrm>
            <a:prstGeom prst="triangle">
              <a:avLst/>
            </a:prstGeom>
            <a:solidFill>
              <a:srgbClr val="F79646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kern="0" dirty="0">
                  <a:solidFill>
                    <a:prstClr val="white"/>
                  </a:solidFill>
                  <a:latin typeface="Calibri"/>
                </a:rPr>
                <a:t>1</a:t>
              </a:r>
            </a:p>
          </p:txBody>
        </p:sp>
        <p:sp>
          <p:nvSpPr>
            <p:cNvPr id="44" name="Isosceles Triangle 122"/>
            <p:cNvSpPr/>
            <p:nvPr/>
          </p:nvSpPr>
          <p:spPr>
            <a:xfrm>
              <a:off x="1454041" y="4665417"/>
              <a:ext cx="229235" cy="193363"/>
            </a:xfrm>
            <a:prstGeom prst="triangle">
              <a:avLst/>
            </a:prstGeom>
            <a:solidFill>
              <a:srgbClr val="F79646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1067" kern="0" dirty="0">
                  <a:solidFill>
                    <a:prstClr val="white"/>
                  </a:solidFill>
                  <a:latin typeface="Calibri"/>
                </a:rPr>
                <a:t>2</a:t>
              </a:r>
            </a:p>
          </p:txBody>
        </p:sp>
        <p:sp>
          <p:nvSpPr>
            <p:cNvPr id="45" name="Freeform 5"/>
            <p:cNvSpPr/>
            <p:nvPr/>
          </p:nvSpPr>
          <p:spPr>
            <a:xfrm>
              <a:off x="398015" y="4316244"/>
              <a:ext cx="450851" cy="98424"/>
            </a:xfrm>
            <a:custGeom>
              <a:avLst/>
              <a:gdLst>
                <a:gd name="connsiteX0" fmla="*/ 412750 w 412750"/>
                <a:gd name="connsiteY0" fmla="*/ 0 h 79375"/>
                <a:gd name="connsiteX1" fmla="*/ 358775 w 412750"/>
                <a:gd name="connsiteY1" fmla="*/ 3175 h 79375"/>
                <a:gd name="connsiteX2" fmla="*/ 304800 w 412750"/>
                <a:gd name="connsiteY2" fmla="*/ 31750 h 79375"/>
                <a:gd name="connsiteX3" fmla="*/ 269875 w 412750"/>
                <a:gd name="connsiteY3" fmla="*/ 25400 h 79375"/>
                <a:gd name="connsiteX4" fmla="*/ 250825 w 412750"/>
                <a:gd name="connsiteY4" fmla="*/ 22225 h 79375"/>
                <a:gd name="connsiteX5" fmla="*/ 279400 w 412750"/>
                <a:gd name="connsiteY5" fmla="*/ 69850 h 79375"/>
                <a:gd name="connsiteX6" fmla="*/ 257175 w 412750"/>
                <a:gd name="connsiteY6" fmla="*/ 79375 h 79375"/>
                <a:gd name="connsiteX7" fmla="*/ 174625 w 412750"/>
                <a:gd name="connsiteY7" fmla="*/ 73025 h 79375"/>
                <a:gd name="connsiteX8" fmla="*/ 158750 w 412750"/>
                <a:gd name="connsiteY8" fmla="*/ 47625 h 79375"/>
                <a:gd name="connsiteX9" fmla="*/ 127000 w 412750"/>
                <a:gd name="connsiteY9" fmla="*/ 47625 h 79375"/>
                <a:gd name="connsiteX10" fmla="*/ 95250 w 412750"/>
                <a:gd name="connsiteY10" fmla="*/ 34925 h 79375"/>
                <a:gd name="connsiteX11" fmla="*/ 76200 w 412750"/>
                <a:gd name="connsiteY11" fmla="*/ 25400 h 79375"/>
                <a:gd name="connsiteX12" fmla="*/ 50800 w 412750"/>
                <a:gd name="connsiteY12" fmla="*/ 15875 h 79375"/>
                <a:gd name="connsiteX13" fmla="*/ 28575 w 412750"/>
                <a:gd name="connsiteY13" fmla="*/ 12700 h 79375"/>
                <a:gd name="connsiteX14" fmla="*/ 0 w 412750"/>
                <a:gd name="connsiteY14" fmla="*/ 28575 h 79375"/>
                <a:gd name="connsiteX0" fmla="*/ 358775 w 358775"/>
                <a:gd name="connsiteY0" fmla="*/ 0 h 76200"/>
                <a:gd name="connsiteX1" fmla="*/ 304800 w 358775"/>
                <a:gd name="connsiteY1" fmla="*/ 28575 h 76200"/>
                <a:gd name="connsiteX2" fmla="*/ 269875 w 358775"/>
                <a:gd name="connsiteY2" fmla="*/ 22225 h 76200"/>
                <a:gd name="connsiteX3" fmla="*/ 250825 w 358775"/>
                <a:gd name="connsiteY3" fmla="*/ 19050 h 76200"/>
                <a:gd name="connsiteX4" fmla="*/ 279400 w 358775"/>
                <a:gd name="connsiteY4" fmla="*/ 66675 h 76200"/>
                <a:gd name="connsiteX5" fmla="*/ 257175 w 358775"/>
                <a:gd name="connsiteY5" fmla="*/ 76200 h 76200"/>
                <a:gd name="connsiteX6" fmla="*/ 174625 w 358775"/>
                <a:gd name="connsiteY6" fmla="*/ 69850 h 76200"/>
                <a:gd name="connsiteX7" fmla="*/ 158750 w 358775"/>
                <a:gd name="connsiteY7" fmla="*/ 44450 h 76200"/>
                <a:gd name="connsiteX8" fmla="*/ 127000 w 358775"/>
                <a:gd name="connsiteY8" fmla="*/ 44450 h 76200"/>
                <a:gd name="connsiteX9" fmla="*/ 95250 w 358775"/>
                <a:gd name="connsiteY9" fmla="*/ 31750 h 76200"/>
                <a:gd name="connsiteX10" fmla="*/ 76200 w 358775"/>
                <a:gd name="connsiteY10" fmla="*/ 22225 h 76200"/>
                <a:gd name="connsiteX11" fmla="*/ 50800 w 358775"/>
                <a:gd name="connsiteY11" fmla="*/ 12700 h 76200"/>
                <a:gd name="connsiteX12" fmla="*/ 28575 w 358775"/>
                <a:gd name="connsiteY12" fmla="*/ 9525 h 76200"/>
                <a:gd name="connsiteX13" fmla="*/ 0 w 358775"/>
                <a:gd name="connsiteY13" fmla="*/ 25400 h 76200"/>
                <a:gd name="connsiteX0" fmla="*/ 304800 w 304800"/>
                <a:gd name="connsiteY0" fmla="*/ 19050 h 66675"/>
                <a:gd name="connsiteX1" fmla="*/ 269875 w 304800"/>
                <a:gd name="connsiteY1" fmla="*/ 12700 h 66675"/>
                <a:gd name="connsiteX2" fmla="*/ 250825 w 304800"/>
                <a:gd name="connsiteY2" fmla="*/ 9525 h 66675"/>
                <a:gd name="connsiteX3" fmla="*/ 279400 w 304800"/>
                <a:gd name="connsiteY3" fmla="*/ 57150 h 66675"/>
                <a:gd name="connsiteX4" fmla="*/ 257175 w 304800"/>
                <a:gd name="connsiteY4" fmla="*/ 66675 h 66675"/>
                <a:gd name="connsiteX5" fmla="*/ 174625 w 304800"/>
                <a:gd name="connsiteY5" fmla="*/ 60325 h 66675"/>
                <a:gd name="connsiteX6" fmla="*/ 158750 w 304800"/>
                <a:gd name="connsiteY6" fmla="*/ 34925 h 66675"/>
                <a:gd name="connsiteX7" fmla="*/ 127000 w 304800"/>
                <a:gd name="connsiteY7" fmla="*/ 34925 h 66675"/>
                <a:gd name="connsiteX8" fmla="*/ 95250 w 304800"/>
                <a:gd name="connsiteY8" fmla="*/ 22225 h 66675"/>
                <a:gd name="connsiteX9" fmla="*/ 76200 w 304800"/>
                <a:gd name="connsiteY9" fmla="*/ 12700 h 66675"/>
                <a:gd name="connsiteX10" fmla="*/ 50800 w 304800"/>
                <a:gd name="connsiteY10" fmla="*/ 3175 h 66675"/>
                <a:gd name="connsiteX11" fmla="*/ 28575 w 304800"/>
                <a:gd name="connsiteY11" fmla="*/ 0 h 66675"/>
                <a:gd name="connsiteX12" fmla="*/ 0 w 304800"/>
                <a:gd name="connsiteY12" fmla="*/ 15875 h 66675"/>
                <a:gd name="connsiteX0" fmla="*/ 338138 w 338138"/>
                <a:gd name="connsiteY0" fmla="*/ 0 h 73818"/>
                <a:gd name="connsiteX1" fmla="*/ 269875 w 338138"/>
                <a:gd name="connsiteY1" fmla="*/ 19843 h 73818"/>
                <a:gd name="connsiteX2" fmla="*/ 250825 w 338138"/>
                <a:gd name="connsiteY2" fmla="*/ 16668 h 73818"/>
                <a:gd name="connsiteX3" fmla="*/ 279400 w 338138"/>
                <a:gd name="connsiteY3" fmla="*/ 64293 h 73818"/>
                <a:gd name="connsiteX4" fmla="*/ 257175 w 338138"/>
                <a:gd name="connsiteY4" fmla="*/ 73818 h 73818"/>
                <a:gd name="connsiteX5" fmla="*/ 174625 w 338138"/>
                <a:gd name="connsiteY5" fmla="*/ 67468 h 73818"/>
                <a:gd name="connsiteX6" fmla="*/ 158750 w 338138"/>
                <a:gd name="connsiteY6" fmla="*/ 42068 h 73818"/>
                <a:gd name="connsiteX7" fmla="*/ 127000 w 338138"/>
                <a:gd name="connsiteY7" fmla="*/ 42068 h 73818"/>
                <a:gd name="connsiteX8" fmla="*/ 95250 w 338138"/>
                <a:gd name="connsiteY8" fmla="*/ 29368 h 73818"/>
                <a:gd name="connsiteX9" fmla="*/ 76200 w 338138"/>
                <a:gd name="connsiteY9" fmla="*/ 19843 h 73818"/>
                <a:gd name="connsiteX10" fmla="*/ 50800 w 338138"/>
                <a:gd name="connsiteY10" fmla="*/ 10318 h 73818"/>
                <a:gd name="connsiteX11" fmla="*/ 28575 w 338138"/>
                <a:gd name="connsiteY11" fmla="*/ 7143 h 73818"/>
                <a:gd name="connsiteX12" fmla="*/ 0 w 338138"/>
                <a:gd name="connsiteY12" fmla="*/ 23018 h 7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38138" h="73818">
                  <a:moveTo>
                    <a:pt x="338138" y="0"/>
                  </a:moveTo>
                  <a:lnTo>
                    <a:pt x="269875" y="19843"/>
                  </a:lnTo>
                  <a:lnTo>
                    <a:pt x="250825" y="16668"/>
                  </a:lnTo>
                  <a:lnTo>
                    <a:pt x="279400" y="64293"/>
                  </a:lnTo>
                  <a:lnTo>
                    <a:pt x="257175" y="73818"/>
                  </a:lnTo>
                  <a:lnTo>
                    <a:pt x="174625" y="67468"/>
                  </a:lnTo>
                  <a:lnTo>
                    <a:pt x="158750" y="42068"/>
                  </a:lnTo>
                  <a:lnTo>
                    <a:pt x="127000" y="42068"/>
                  </a:lnTo>
                  <a:lnTo>
                    <a:pt x="95250" y="29368"/>
                  </a:lnTo>
                  <a:lnTo>
                    <a:pt x="76200" y="19843"/>
                  </a:lnTo>
                  <a:lnTo>
                    <a:pt x="50800" y="10318"/>
                  </a:lnTo>
                  <a:lnTo>
                    <a:pt x="28575" y="7143"/>
                  </a:lnTo>
                  <a:lnTo>
                    <a:pt x="0" y="23018"/>
                  </a:lnTo>
                </a:path>
              </a:pathLst>
            </a:custGeom>
            <a:noFill/>
            <a:ln w="25400" cap="flat" cmpd="sng" algn="ctr">
              <a:solidFill>
                <a:srgbClr val="F79646"/>
              </a:solidFill>
              <a:prstDash val="sysDash"/>
            </a:ln>
            <a:effectLst/>
          </p:spPr>
          <p:txBody>
            <a:bodyPr rtlCol="0" anchor="ctr"/>
            <a:lstStyle/>
            <a:p>
              <a:pPr algn="ctr" defTabSz="609585"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6" name="Flowchart: Decision 217"/>
            <p:cNvSpPr/>
            <p:nvPr/>
          </p:nvSpPr>
          <p:spPr>
            <a:xfrm>
              <a:off x="7454369" y="2995211"/>
              <a:ext cx="198036" cy="197988"/>
            </a:xfrm>
            <a:prstGeom prst="flowChartDecision">
              <a:avLst/>
            </a:prstGeom>
            <a:solidFill>
              <a:srgbClr val="00B0F0"/>
            </a:solidFill>
            <a:ln w="635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b="1" kern="0" dirty="0">
                  <a:solidFill>
                    <a:prstClr val="black"/>
                  </a:solidFill>
                  <a:latin typeface="Calibri"/>
                </a:rPr>
                <a:t>9</a:t>
              </a:r>
            </a:p>
          </p:txBody>
        </p:sp>
        <p:sp>
          <p:nvSpPr>
            <p:cNvPr id="47" name="Freeform 112"/>
            <p:cNvSpPr/>
            <p:nvPr/>
          </p:nvSpPr>
          <p:spPr>
            <a:xfrm>
              <a:off x="946234" y="4310952"/>
              <a:ext cx="898525" cy="346075"/>
            </a:xfrm>
            <a:custGeom>
              <a:avLst/>
              <a:gdLst>
                <a:gd name="connsiteX0" fmla="*/ 0 w 1162050"/>
                <a:gd name="connsiteY0" fmla="*/ 28575 h 150018"/>
                <a:gd name="connsiteX1" fmla="*/ 50006 w 1162050"/>
                <a:gd name="connsiteY1" fmla="*/ 71437 h 150018"/>
                <a:gd name="connsiteX2" fmla="*/ 121443 w 1162050"/>
                <a:gd name="connsiteY2" fmla="*/ 71437 h 150018"/>
                <a:gd name="connsiteX3" fmla="*/ 142875 w 1162050"/>
                <a:gd name="connsiteY3" fmla="*/ 71437 h 150018"/>
                <a:gd name="connsiteX4" fmla="*/ 142875 w 1162050"/>
                <a:gd name="connsiteY4" fmla="*/ 35718 h 150018"/>
                <a:gd name="connsiteX5" fmla="*/ 178593 w 1162050"/>
                <a:gd name="connsiteY5" fmla="*/ 16668 h 150018"/>
                <a:gd name="connsiteX6" fmla="*/ 202406 w 1162050"/>
                <a:gd name="connsiteY6" fmla="*/ 16668 h 150018"/>
                <a:gd name="connsiteX7" fmla="*/ 252412 w 1162050"/>
                <a:gd name="connsiteY7" fmla="*/ 2381 h 150018"/>
                <a:gd name="connsiteX8" fmla="*/ 285750 w 1162050"/>
                <a:gd name="connsiteY8" fmla="*/ 0 h 150018"/>
                <a:gd name="connsiteX9" fmla="*/ 290512 w 1162050"/>
                <a:gd name="connsiteY9" fmla="*/ 26193 h 150018"/>
                <a:gd name="connsiteX10" fmla="*/ 330993 w 1162050"/>
                <a:gd name="connsiteY10" fmla="*/ 21431 h 150018"/>
                <a:gd name="connsiteX11" fmla="*/ 350043 w 1162050"/>
                <a:gd name="connsiteY11" fmla="*/ 11906 h 150018"/>
                <a:gd name="connsiteX12" fmla="*/ 388143 w 1162050"/>
                <a:gd name="connsiteY12" fmla="*/ 33337 h 150018"/>
                <a:gd name="connsiteX13" fmla="*/ 438150 w 1162050"/>
                <a:gd name="connsiteY13" fmla="*/ 38100 h 150018"/>
                <a:gd name="connsiteX14" fmla="*/ 447675 w 1162050"/>
                <a:gd name="connsiteY14" fmla="*/ 30956 h 150018"/>
                <a:gd name="connsiteX15" fmla="*/ 485775 w 1162050"/>
                <a:gd name="connsiteY15" fmla="*/ 54768 h 150018"/>
                <a:gd name="connsiteX16" fmla="*/ 511968 w 1162050"/>
                <a:gd name="connsiteY16" fmla="*/ 76200 h 150018"/>
                <a:gd name="connsiteX17" fmla="*/ 540543 w 1162050"/>
                <a:gd name="connsiteY17" fmla="*/ 76200 h 150018"/>
                <a:gd name="connsiteX18" fmla="*/ 547687 w 1162050"/>
                <a:gd name="connsiteY18" fmla="*/ 107156 h 150018"/>
                <a:gd name="connsiteX19" fmla="*/ 561975 w 1162050"/>
                <a:gd name="connsiteY19" fmla="*/ 121443 h 150018"/>
                <a:gd name="connsiteX20" fmla="*/ 602456 w 1162050"/>
                <a:gd name="connsiteY20" fmla="*/ 119062 h 150018"/>
                <a:gd name="connsiteX21" fmla="*/ 640556 w 1162050"/>
                <a:gd name="connsiteY21" fmla="*/ 119062 h 150018"/>
                <a:gd name="connsiteX22" fmla="*/ 692943 w 1162050"/>
                <a:gd name="connsiteY22" fmla="*/ 140493 h 150018"/>
                <a:gd name="connsiteX23" fmla="*/ 728662 w 1162050"/>
                <a:gd name="connsiteY23" fmla="*/ 150018 h 150018"/>
                <a:gd name="connsiteX24" fmla="*/ 778668 w 1162050"/>
                <a:gd name="connsiteY24" fmla="*/ 145256 h 150018"/>
                <a:gd name="connsiteX25" fmla="*/ 828675 w 1162050"/>
                <a:gd name="connsiteY25" fmla="*/ 145256 h 150018"/>
                <a:gd name="connsiteX26" fmla="*/ 876300 w 1162050"/>
                <a:gd name="connsiteY26" fmla="*/ 145256 h 150018"/>
                <a:gd name="connsiteX27" fmla="*/ 957262 w 1162050"/>
                <a:gd name="connsiteY27" fmla="*/ 145256 h 150018"/>
                <a:gd name="connsiteX28" fmla="*/ 981075 w 1162050"/>
                <a:gd name="connsiteY28" fmla="*/ 135731 h 150018"/>
                <a:gd name="connsiteX29" fmla="*/ 1035843 w 1162050"/>
                <a:gd name="connsiteY29" fmla="*/ 109537 h 150018"/>
                <a:gd name="connsiteX30" fmla="*/ 1059656 w 1162050"/>
                <a:gd name="connsiteY30" fmla="*/ 97631 h 150018"/>
                <a:gd name="connsiteX31" fmla="*/ 1095375 w 1162050"/>
                <a:gd name="connsiteY31" fmla="*/ 97631 h 150018"/>
                <a:gd name="connsiteX32" fmla="*/ 1128712 w 1162050"/>
                <a:gd name="connsiteY32" fmla="*/ 92868 h 150018"/>
                <a:gd name="connsiteX33" fmla="*/ 1152525 w 1162050"/>
                <a:gd name="connsiteY33" fmla="*/ 80962 h 150018"/>
                <a:gd name="connsiteX34" fmla="*/ 1162050 w 1162050"/>
                <a:gd name="connsiteY34" fmla="*/ 88106 h 150018"/>
                <a:gd name="connsiteX0" fmla="*/ 0 w 1162050"/>
                <a:gd name="connsiteY0" fmla="*/ 28575 h 150018"/>
                <a:gd name="connsiteX1" fmla="*/ 50006 w 1162050"/>
                <a:gd name="connsiteY1" fmla="*/ 71437 h 150018"/>
                <a:gd name="connsiteX2" fmla="*/ 121443 w 1162050"/>
                <a:gd name="connsiteY2" fmla="*/ 71437 h 150018"/>
                <a:gd name="connsiteX3" fmla="*/ 142875 w 1162050"/>
                <a:gd name="connsiteY3" fmla="*/ 71437 h 150018"/>
                <a:gd name="connsiteX4" fmla="*/ 178593 w 1162050"/>
                <a:gd name="connsiteY4" fmla="*/ 16668 h 150018"/>
                <a:gd name="connsiteX5" fmla="*/ 202406 w 1162050"/>
                <a:gd name="connsiteY5" fmla="*/ 16668 h 150018"/>
                <a:gd name="connsiteX6" fmla="*/ 252412 w 1162050"/>
                <a:gd name="connsiteY6" fmla="*/ 2381 h 150018"/>
                <a:gd name="connsiteX7" fmla="*/ 285750 w 1162050"/>
                <a:gd name="connsiteY7" fmla="*/ 0 h 150018"/>
                <a:gd name="connsiteX8" fmla="*/ 290512 w 1162050"/>
                <a:gd name="connsiteY8" fmla="*/ 26193 h 150018"/>
                <a:gd name="connsiteX9" fmla="*/ 330993 w 1162050"/>
                <a:gd name="connsiteY9" fmla="*/ 21431 h 150018"/>
                <a:gd name="connsiteX10" fmla="*/ 350043 w 1162050"/>
                <a:gd name="connsiteY10" fmla="*/ 11906 h 150018"/>
                <a:gd name="connsiteX11" fmla="*/ 388143 w 1162050"/>
                <a:gd name="connsiteY11" fmla="*/ 33337 h 150018"/>
                <a:gd name="connsiteX12" fmla="*/ 438150 w 1162050"/>
                <a:gd name="connsiteY12" fmla="*/ 38100 h 150018"/>
                <a:gd name="connsiteX13" fmla="*/ 447675 w 1162050"/>
                <a:gd name="connsiteY13" fmla="*/ 30956 h 150018"/>
                <a:gd name="connsiteX14" fmla="*/ 485775 w 1162050"/>
                <a:gd name="connsiteY14" fmla="*/ 54768 h 150018"/>
                <a:gd name="connsiteX15" fmla="*/ 511968 w 1162050"/>
                <a:gd name="connsiteY15" fmla="*/ 76200 h 150018"/>
                <a:gd name="connsiteX16" fmla="*/ 540543 w 1162050"/>
                <a:gd name="connsiteY16" fmla="*/ 76200 h 150018"/>
                <a:gd name="connsiteX17" fmla="*/ 547687 w 1162050"/>
                <a:gd name="connsiteY17" fmla="*/ 107156 h 150018"/>
                <a:gd name="connsiteX18" fmla="*/ 561975 w 1162050"/>
                <a:gd name="connsiteY18" fmla="*/ 121443 h 150018"/>
                <a:gd name="connsiteX19" fmla="*/ 602456 w 1162050"/>
                <a:gd name="connsiteY19" fmla="*/ 119062 h 150018"/>
                <a:gd name="connsiteX20" fmla="*/ 640556 w 1162050"/>
                <a:gd name="connsiteY20" fmla="*/ 119062 h 150018"/>
                <a:gd name="connsiteX21" fmla="*/ 692943 w 1162050"/>
                <a:gd name="connsiteY21" fmla="*/ 140493 h 150018"/>
                <a:gd name="connsiteX22" fmla="*/ 728662 w 1162050"/>
                <a:gd name="connsiteY22" fmla="*/ 150018 h 150018"/>
                <a:gd name="connsiteX23" fmla="*/ 778668 w 1162050"/>
                <a:gd name="connsiteY23" fmla="*/ 145256 h 150018"/>
                <a:gd name="connsiteX24" fmla="*/ 828675 w 1162050"/>
                <a:gd name="connsiteY24" fmla="*/ 145256 h 150018"/>
                <a:gd name="connsiteX25" fmla="*/ 876300 w 1162050"/>
                <a:gd name="connsiteY25" fmla="*/ 145256 h 150018"/>
                <a:gd name="connsiteX26" fmla="*/ 957262 w 1162050"/>
                <a:gd name="connsiteY26" fmla="*/ 145256 h 150018"/>
                <a:gd name="connsiteX27" fmla="*/ 981075 w 1162050"/>
                <a:gd name="connsiteY27" fmla="*/ 135731 h 150018"/>
                <a:gd name="connsiteX28" fmla="*/ 1035843 w 1162050"/>
                <a:gd name="connsiteY28" fmla="*/ 109537 h 150018"/>
                <a:gd name="connsiteX29" fmla="*/ 1059656 w 1162050"/>
                <a:gd name="connsiteY29" fmla="*/ 97631 h 150018"/>
                <a:gd name="connsiteX30" fmla="*/ 1095375 w 1162050"/>
                <a:gd name="connsiteY30" fmla="*/ 97631 h 150018"/>
                <a:gd name="connsiteX31" fmla="*/ 1128712 w 1162050"/>
                <a:gd name="connsiteY31" fmla="*/ 92868 h 150018"/>
                <a:gd name="connsiteX32" fmla="*/ 1152525 w 1162050"/>
                <a:gd name="connsiteY32" fmla="*/ 80962 h 150018"/>
                <a:gd name="connsiteX33" fmla="*/ 1162050 w 1162050"/>
                <a:gd name="connsiteY33" fmla="*/ 88106 h 150018"/>
                <a:gd name="connsiteX0" fmla="*/ 0 w 1162050"/>
                <a:gd name="connsiteY0" fmla="*/ 28575 h 150018"/>
                <a:gd name="connsiteX1" fmla="*/ 50006 w 1162050"/>
                <a:gd name="connsiteY1" fmla="*/ 71437 h 150018"/>
                <a:gd name="connsiteX2" fmla="*/ 121443 w 1162050"/>
                <a:gd name="connsiteY2" fmla="*/ 71437 h 150018"/>
                <a:gd name="connsiteX3" fmla="*/ 142875 w 1162050"/>
                <a:gd name="connsiteY3" fmla="*/ 71437 h 150018"/>
                <a:gd name="connsiteX4" fmla="*/ 178593 w 1162050"/>
                <a:gd name="connsiteY4" fmla="*/ 16668 h 150018"/>
                <a:gd name="connsiteX5" fmla="*/ 252412 w 1162050"/>
                <a:gd name="connsiteY5" fmla="*/ 2381 h 150018"/>
                <a:gd name="connsiteX6" fmla="*/ 285750 w 1162050"/>
                <a:gd name="connsiteY6" fmla="*/ 0 h 150018"/>
                <a:gd name="connsiteX7" fmla="*/ 290512 w 1162050"/>
                <a:gd name="connsiteY7" fmla="*/ 26193 h 150018"/>
                <a:gd name="connsiteX8" fmla="*/ 330993 w 1162050"/>
                <a:gd name="connsiteY8" fmla="*/ 21431 h 150018"/>
                <a:gd name="connsiteX9" fmla="*/ 350043 w 1162050"/>
                <a:gd name="connsiteY9" fmla="*/ 11906 h 150018"/>
                <a:gd name="connsiteX10" fmla="*/ 388143 w 1162050"/>
                <a:gd name="connsiteY10" fmla="*/ 33337 h 150018"/>
                <a:gd name="connsiteX11" fmla="*/ 438150 w 1162050"/>
                <a:gd name="connsiteY11" fmla="*/ 38100 h 150018"/>
                <a:gd name="connsiteX12" fmla="*/ 447675 w 1162050"/>
                <a:gd name="connsiteY12" fmla="*/ 30956 h 150018"/>
                <a:gd name="connsiteX13" fmla="*/ 485775 w 1162050"/>
                <a:gd name="connsiteY13" fmla="*/ 54768 h 150018"/>
                <a:gd name="connsiteX14" fmla="*/ 511968 w 1162050"/>
                <a:gd name="connsiteY14" fmla="*/ 76200 h 150018"/>
                <a:gd name="connsiteX15" fmla="*/ 540543 w 1162050"/>
                <a:gd name="connsiteY15" fmla="*/ 76200 h 150018"/>
                <a:gd name="connsiteX16" fmla="*/ 547687 w 1162050"/>
                <a:gd name="connsiteY16" fmla="*/ 107156 h 150018"/>
                <a:gd name="connsiteX17" fmla="*/ 561975 w 1162050"/>
                <a:gd name="connsiteY17" fmla="*/ 121443 h 150018"/>
                <a:gd name="connsiteX18" fmla="*/ 602456 w 1162050"/>
                <a:gd name="connsiteY18" fmla="*/ 119062 h 150018"/>
                <a:gd name="connsiteX19" fmla="*/ 640556 w 1162050"/>
                <a:gd name="connsiteY19" fmla="*/ 119062 h 150018"/>
                <a:gd name="connsiteX20" fmla="*/ 692943 w 1162050"/>
                <a:gd name="connsiteY20" fmla="*/ 140493 h 150018"/>
                <a:gd name="connsiteX21" fmla="*/ 728662 w 1162050"/>
                <a:gd name="connsiteY21" fmla="*/ 150018 h 150018"/>
                <a:gd name="connsiteX22" fmla="*/ 778668 w 1162050"/>
                <a:gd name="connsiteY22" fmla="*/ 145256 h 150018"/>
                <a:gd name="connsiteX23" fmla="*/ 828675 w 1162050"/>
                <a:gd name="connsiteY23" fmla="*/ 145256 h 150018"/>
                <a:gd name="connsiteX24" fmla="*/ 876300 w 1162050"/>
                <a:gd name="connsiteY24" fmla="*/ 145256 h 150018"/>
                <a:gd name="connsiteX25" fmla="*/ 957262 w 1162050"/>
                <a:gd name="connsiteY25" fmla="*/ 145256 h 150018"/>
                <a:gd name="connsiteX26" fmla="*/ 981075 w 1162050"/>
                <a:gd name="connsiteY26" fmla="*/ 135731 h 150018"/>
                <a:gd name="connsiteX27" fmla="*/ 1035843 w 1162050"/>
                <a:gd name="connsiteY27" fmla="*/ 109537 h 150018"/>
                <a:gd name="connsiteX28" fmla="*/ 1059656 w 1162050"/>
                <a:gd name="connsiteY28" fmla="*/ 97631 h 150018"/>
                <a:gd name="connsiteX29" fmla="*/ 1095375 w 1162050"/>
                <a:gd name="connsiteY29" fmla="*/ 97631 h 150018"/>
                <a:gd name="connsiteX30" fmla="*/ 1128712 w 1162050"/>
                <a:gd name="connsiteY30" fmla="*/ 92868 h 150018"/>
                <a:gd name="connsiteX31" fmla="*/ 1152525 w 1162050"/>
                <a:gd name="connsiteY31" fmla="*/ 80962 h 150018"/>
                <a:gd name="connsiteX32" fmla="*/ 1162050 w 1162050"/>
                <a:gd name="connsiteY32" fmla="*/ 88106 h 150018"/>
                <a:gd name="connsiteX0" fmla="*/ 0 w 1162050"/>
                <a:gd name="connsiteY0" fmla="*/ 28575 h 150018"/>
                <a:gd name="connsiteX1" fmla="*/ 50006 w 1162050"/>
                <a:gd name="connsiteY1" fmla="*/ 71437 h 150018"/>
                <a:gd name="connsiteX2" fmla="*/ 121443 w 1162050"/>
                <a:gd name="connsiteY2" fmla="*/ 71437 h 150018"/>
                <a:gd name="connsiteX3" fmla="*/ 142875 w 1162050"/>
                <a:gd name="connsiteY3" fmla="*/ 71437 h 150018"/>
                <a:gd name="connsiteX4" fmla="*/ 178593 w 1162050"/>
                <a:gd name="connsiteY4" fmla="*/ 16668 h 150018"/>
                <a:gd name="connsiteX5" fmla="*/ 285750 w 1162050"/>
                <a:gd name="connsiteY5" fmla="*/ 0 h 150018"/>
                <a:gd name="connsiteX6" fmla="*/ 290512 w 1162050"/>
                <a:gd name="connsiteY6" fmla="*/ 26193 h 150018"/>
                <a:gd name="connsiteX7" fmla="*/ 330993 w 1162050"/>
                <a:gd name="connsiteY7" fmla="*/ 21431 h 150018"/>
                <a:gd name="connsiteX8" fmla="*/ 350043 w 1162050"/>
                <a:gd name="connsiteY8" fmla="*/ 11906 h 150018"/>
                <a:gd name="connsiteX9" fmla="*/ 388143 w 1162050"/>
                <a:gd name="connsiteY9" fmla="*/ 33337 h 150018"/>
                <a:gd name="connsiteX10" fmla="*/ 438150 w 1162050"/>
                <a:gd name="connsiteY10" fmla="*/ 38100 h 150018"/>
                <a:gd name="connsiteX11" fmla="*/ 447675 w 1162050"/>
                <a:gd name="connsiteY11" fmla="*/ 30956 h 150018"/>
                <a:gd name="connsiteX12" fmla="*/ 485775 w 1162050"/>
                <a:gd name="connsiteY12" fmla="*/ 54768 h 150018"/>
                <a:gd name="connsiteX13" fmla="*/ 511968 w 1162050"/>
                <a:gd name="connsiteY13" fmla="*/ 76200 h 150018"/>
                <a:gd name="connsiteX14" fmla="*/ 540543 w 1162050"/>
                <a:gd name="connsiteY14" fmla="*/ 76200 h 150018"/>
                <a:gd name="connsiteX15" fmla="*/ 547687 w 1162050"/>
                <a:gd name="connsiteY15" fmla="*/ 107156 h 150018"/>
                <a:gd name="connsiteX16" fmla="*/ 561975 w 1162050"/>
                <a:gd name="connsiteY16" fmla="*/ 121443 h 150018"/>
                <a:gd name="connsiteX17" fmla="*/ 602456 w 1162050"/>
                <a:gd name="connsiteY17" fmla="*/ 119062 h 150018"/>
                <a:gd name="connsiteX18" fmla="*/ 640556 w 1162050"/>
                <a:gd name="connsiteY18" fmla="*/ 119062 h 150018"/>
                <a:gd name="connsiteX19" fmla="*/ 692943 w 1162050"/>
                <a:gd name="connsiteY19" fmla="*/ 140493 h 150018"/>
                <a:gd name="connsiteX20" fmla="*/ 728662 w 1162050"/>
                <a:gd name="connsiteY20" fmla="*/ 150018 h 150018"/>
                <a:gd name="connsiteX21" fmla="*/ 778668 w 1162050"/>
                <a:gd name="connsiteY21" fmla="*/ 145256 h 150018"/>
                <a:gd name="connsiteX22" fmla="*/ 828675 w 1162050"/>
                <a:gd name="connsiteY22" fmla="*/ 145256 h 150018"/>
                <a:gd name="connsiteX23" fmla="*/ 876300 w 1162050"/>
                <a:gd name="connsiteY23" fmla="*/ 145256 h 150018"/>
                <a:gd name="connsiteX24" fmla="*/ 957262 w 1162050"/>
                <a:gd name="connsiteY24" fmla="*/ 145256 h 150018"/>
                <a:gd name="connsiteX25" fmla="*/ 981075 w 1162050"/>
                <a:gd name="connsiteY25" fmla="*/ 135731 h 150018"/>
                <a:gd name="connsiteX26" fmla="*/ 1035843 w 1162050"/>
                <a:gd name="connsiteY26" fmla="*/ 109537 h 150018"/>
                <a:gd name="connsiteX27" fmla="*/ 1059656 w 1162050"/>
                <a:gd name="connsiteY27" fmla="*/ 97631 h 150018"/>
                <a:gd name="connsiteX28" fmla="*/ 1095375 w 1162050"/>
                <a:gd name="connsiteY28" fmla="*/ 97631 h 150018"/>
                <a:gd name="connsiteX29" fmla="*/ 1128712 w 1162050"/>
                <a:gd name="connsiteY29" fmla="*/ 92868 h 150018"/>
                <a:gd name="connsiteX30" fmla="*/ 1152525 w 1162050"/>
                <a:gd name="connsiteY30" fmla="*/ 80962 h 150018"/>
                <a:gd name="connsiteX31" fmla="*/ 1162050 w 1162050"/>
                <a:gd name="connsiteY31" fmla="*/ 88106 h 150018"/>
                <a:gd name="connsiteX0" fmla="*/ 0 w 1162050"/>
                <a:gd name="connsiteY0" fmla="*/ 28575 h 150018"/>
                <a:gd name="connsiteX1" fmla="*/ 50006 w 1162050"/>
                <a:gd name="connsiteY1" fmla="*/ 71437 h 150018"/>
                <a:gd name="connsiteX2" fmla="*/ 121443 w 1162050"/>
                <a:gd name="connsiteY2" fmla="*/ 71437 h 150018"/>
                <a:gd name="connsiteX3" fmla="*/ 142875 w 1162050"/>
                <a:gd name="connsiteY3" fmla="*/ 71437 h 150018"/>
                <a:gd name="connsiteX4" fmla="*/ 285750 w 1162050"/>
                <a:gd name="connsiteY4" fmla="*/ 0 h 150018"/>
                <a:gd name="connsiteX5" fmla="*/ 290512 w 1162050"/>
                <a:gd name="connsiteY5" fmla="*/ 26193 h 150018"/>
                <a:gd name="connsiteX6" fmla="*/ 330993 w 1162050"/>
                <a:gd name="connsiteY6" fmla="*/ 21431 h 150018"/>
                <a:gd name="connsiteX7" fmla="*/ 350043 w 1162050"/>
                <a:gd name="connsiteY7" fmla="*/ 11906 h 150018"/>
                <a:gd name="connsiteX8" fmla="*/ 388143 w 1162050"/>
                <a:gd name="connsiteY8" fmla="*/ 33337 h 150018"/>
                <a:gd name="connsiteX9" fmla="*/ 438150 w 1162050"/>
                <a:gd name="connsiteY9" fmla="*/ 38100 h 150018"/>
                <a:gd name="connsiteX10" fmla="*/ 447675 w 1162050"/>
                <a:gd name="connsiteY10" fmla="*/ 30956 h 150018"/>
                <a:gd name="connsiteX11" fmla="*/ 485775 w 1162050"/>
                <a:gd name="connsiteY11" fmla="*/ 54768 h 150018"/>
                <a:gd name="connsiteX12" fmla="*/ 511968 w 1162050"/>
                <a:gd name="connsiteY12" fmla="*/ 76200 h 150018"/>
                <a:gd name="connsiteX13" fmla="*/ 540543 w 1162050"/>
                <a:gd name="connsiteY13" fmla="*/ 76200 h 150018"/>
                <a:gd name="connsiteX14" fmla="*/ 547687 w 1162050"/>
                <a:gd name="connsiteY14" fmla="*/ 107156 h 150018"/>
                <a:gd name="connsiteX15" fmla="*/ 561975 w 1162050"/>
                <a:gd name="connsiteY15" fmla="*/ 121443 h 150018"/>
                <a:gd name="connsiteX16" fmla="*/ 602456 w 1162050"/>
                <a:gd name="connsiteY16" fmla="*/ 119062 h 150018"/>
                <a:gd name="connsiteX17" fmla="*/ 640556 w 1162050"/>
                <a:gd name="connsiteY17" fmla="*/ 119062 h 150018"/>
                <a:gd name="connsiteX18" fmla="*/ 692943 w 1162050"/>
                <a:gd name="connsiteY18" fmla="*/ 140493 h 150018"/>
                <a:gd name="connsiteX19" fmla="*/ 728662 w 1162050"/>
                <a:gd name="connsiteY19" fmla="*/ 150018 h 150018"/>
                <a:gd name="connsiteX20" fmla="*/ 778668 w 1162050"/>
                <a:gd name="connsiteY20" fmla="*/ 145256 h 150018"/>
                <a:gd name="connsiteX21" fmla="*/ 828675 w 1162050"/>
                <a:gd name="connsiteY21" fmla="*/ 145256 h 150018"/>
                <a:gd name="connsiteX22" fmla="*/ 876300 w 1162050"/>
                <a:gd name="connsiteY22" fmla="*/ 145256 h 150018"/>
                <a:gd name="connsiteX23" fmla="*/ 957262 w 1162050"/>
                <a:gd name="connsiteY23" fmla="*/ 145256 h 150018"/>
                <a:gd name="connsiteX24" fmla="*/ 981075 w 1162050"/>
                <a:gd name="connsiteY24" fmla="*/ 135731 h 150018"/>
                <a:gd name="connsiteX25" fmla="*/ 1035843 w 1162050"/>
                <a:gd name="connsiteY25" fmla="*/ 109537 h 150018"/>
                <a:gd name="connsiteX26" fmla="*/ 1059656 w 1162050"/>
                <a:gd name="connsiteY26" fmla="*/ 97631 h 150018"/>
                <a:gd name="connsiteX27" fmla="*/ 1095375 w 1162050"/>
                <a:gd name="connsiteY27" fmla="*/ 97631 h 150018"/>
                <a:gd name="connsiteX28" fmla="*/ 1128712 w 1162050"/>
                <a:gd name="connsiteY28" fmla="*/ 92868 h 150018"/>
                <a:gd name="connsiteX29" fmla="*/ 1152525 w 1162050"/>
                <a:gd name="connsiteY29" fmla="*/ 80962 h 150018"/>
                <a:gd name="connsiteX30" fmla="*/ 1162050 w 1162050"/>
                <a:gd name="connsiteY30" fmla="*/ 88106 h 150018"/>
                <a:gd name="connsiteX0" fmla="*/ 0 w 1162050"/>
                <a:gd name="connsiteY0" fmla="*/ 28575 h 150018"/>
                <a:gd name="connsiteX1" fmla="*/ 50006 w 1162050"/>
                <a:gd name="connsiteY1" fmla="*/ 71437 h 150018"/>
                <a:gd name="connsiteX2" fmla="*/ 121443 w 1162050"/>
                <a:gd name="connsiteY2" fmla="*/ 71437 h 150018"/>
                <a:gd name="connsiteX3" fmla="*/ 285750 w 1162050"/>
                <a:gd name="connsiteY3" fmla="*/ 0 h 150018"/>
                <a:gd name="connsiteX4" fmla="*/ 290512 w 1162050"/>
                <a:gd name="connsiteY4" fmla="*/ 26193 h 150018"/>
                <a:gd name="connsiteX5" fmla="*/ 330993 w 1162050"/>
                <a:gd name="connsiteY5" fmla="*/ 21431 h 150018"/>
                <a:gd name="connsiteX6" fmla="*/ 350043 w 1162050"/>
                <a:gd name="connsiteY6" fmla="*/ 11906 h 150018"/>
                <a:gd name="connsiteX7" fmla="*/ 388143 w 1162050"/>
                <a:gd name="connsiteY7" fmla="*/ 33337 h 150018"/>
                <a:gd name="connsiteX8" fmla="*/ 438150 w 1162050"/>
                <a:gd name="connsiteY8" fmla="*/ 38100 h 150018"/>
                <a:gd name="connsiteX9" fmla="*/ 447675 w 1162050"/>
                <a:gd name="connsiteY9" fmla="*/ 30956 h 150018"/>
                <a:gd name="connsiteX10" fmla="*/ 485775 w 1162050"/>
                <a:gd name="connsiteY10" fmla="*/ 54768 h 150018"/>
                <a:gd name="connsiteX11" fmla="*/ 511968 w 1162050"/>
                <a:gd name="connsiteY11" fmla="*/ 76200 h 150018"/>
                <a:gd name="connsiteX12" fmla="*/ 540543 w 1162050"/>
                <a:gd name="connsiteY12" fmla="*/ 76200 h 150018"/>
                <a:gd name="connsiteX13" fmla="*/ 547687 w 1162050"/>
                <a:gd name="connsiteY13" fmla="*/ 107156 h 150018"/>
                <a:gd name="connsiteX14" fmla="*/ 561975 w 1162050"/>
                <a:gd name="connsiteY14" fmla="*/ 121443 h 150018"/>
                <a:gd name="connsiteX15" fmla="*/ 602456 w 1162050"/>
                <a:gd name="connsiteY15" fmla="*/ 119062 h 150018"/>
                <a:gd name="connsiteX16" fmla="*/ 640556 w 1162050"/>
                <a:gd name="connsiteY16" fmla="*/ 119062 h 150018"/>
                <a:gd name="connsiteX17" fmla="*/ 692943 w 1162050"/>
                <a:gd name="connsiteY17" fmla="*/ 140493 h 150018"/>
                <a:gd name="connsiteX18" fmla="*/ 728662 w 1162050"/>
                <a:gd name="connsiteY18" fmla="*/ 150018 h 150018"/>
                <a:gd name="connsiteX19" fmla="*/ 778668 w 1162050"/>
                <a:gd name="connsiteY19" fmla="*/ 145256 h 150018"/>
                <a:gd name="connsiteX20" fmla="*/ 828675 w 1162050"/>
                <a:gd name="connsiteY20" fmla="*/ 145256 h 150018"/>
                <a:gd name="connsiteX21" fmla="*/ 876300 w 1162050"/>
                <a:gd name="connsiteY21" fmla="*/ 145256 h 150018"/>
                <a:gd name="connsiteX22" fmla="*/ 957262 w 1162050"/>
                <a:gd name="connsiteY22" fmla="*/ 145256 h 150018"/>
                <a:gd name="connsiteX23" fmla="*/ 981075 w 1162050"/>
                <a:gd name="connsiteY23" fmla="*/ 135731 h 150018"/>
                <a:gd name="connsiteX24" fmla="*/ 1035843 w 1162050"/>
                <a:gd name="connsiteY24" fmla="*/ 109537 h 150018"/>
                <a:gd name="connsiteX25" fmla="*/ 1059656 w 1162050"/>
                <a:gd name="connsiteY25" fmla="*/ 97631 h 150018"/>
                <a:gd name="connsiteX26" fmla="*/ 1095375 w 1162050"/>
                <a:gd name="connsiteY26" fmla="*/ 97631 h 150018"/>
                <a:gd name="connsiteX27" fmla="*/ 1128712 w 1162050"/>
                <a:gd name="connsiteY27" fmla="*/ 92868 h 150018"/>
                <a:gd name="connsiteX28" fmla="*/ 1152525 w 1162050"/>
                <a:gd name="connsiteY28" fmla="*/ 80962 h 150018"/>
                <a:gd name="connsiteX29" fmla="*/ 1162050 w 1162050"/>
                <a:gd name="connsiteY29" fmla="*/ 88106 h 150018"/>
                <a:gd name="connsiteX0" fmla="*/ 0 w 1162050"/>
                <a:gd name="connsiteY0" fmla="*/ 28575 h 150018"/>
                <a:gd name="connsiteX1" fmla="*/ 50006 w 1162050"/>
                <a:gd name="connsiteY1" fmla="*/ 71437 h 150018"/>
                <a:gd name="connsiteX2" fmla="*/ 285750 w 1162050"/>
                <a:gd name="connsiteY2" fmla="*/ 0 h 150018"/>
                <a:gd name="connsiteX3" fmla="*/ 290512 w 1162050"/>
                <a:gd name="connsiteY3" fmla="*/ 26193 h 150018"/>
                <a:gd name="connsiteX4" fmla="*/ 330993 w 1162050"/>
                <a:gd name="connsiteY4" fmla="*/ 21431 h 150018"/>
                <a:gd name="connsiteX5" fmla="*/ 350043 w 1162050"/>
                <a:gd name="connsiteY5" fmla="*/ 11906 h 150018"/>
                <a:gd name="connsiteX6" fmla="*/ 388143 w 1162050"/>
                <a:gd name="connsiteY6" fmla="*/ 33337 h 150018"/>
                <a:gd name="connsiteX7" fmla="*/ 438150 w 1162050"/>
                <a:gd name="connsiteY7" fmla="*/ 38100 h 150018"/>
                <a:gd name="connsiteX8" fmla="*/ 447675 w 1162050"/>
                <a:gd name="connsiteY8" fmla="*/ 30956 h 150018"/>
                <a:gd name="connsiteX9" fmla="*/ 485775 w 1162050"/>
                <a:gd name="connsiteY9" fmla="*/ 54768 h 150018"/>
                <a:gd name="connsiteX10" fmla="*/ 511968 w 1162050"/>
                <a:gd name="connsiteY10" fmla="*/ 76200 h 150018"/>
                <a:gd name="connsiteX11" fmla="*/ 540543 w 1162050"/>
                <a:gd name="connsiteY11" fmla="*/ 76200 h 150018"/>
                <a:gd name="connsiteX12" fmla="*/ 547687 w 1162050"/>
                <a:gd name="connsiteY12" fmla="*/ 107156 h 150018"/>
                <a:gd name="connsiteX13" fmla="*/ 561975 w 1162050"/>
                <a:gd name="connsiteY13" fmla="*/ 121443 h 150018"/>
                <a:gd name="connsiteX14" fmla="*/ 602456 w 1162050"/>
                <a:gd name="connsiteY14" fmla="*/ 119062 h 150018"/>
                <a:gd name="connsiteX15" fmla="*/ 640556 w 1162050"/>
                <a:gd name="connsiteY15" fmla="*/ 119062 h 150018"/>
                <a:gd name="connsiteX16" fmla="*/ 692943 w 1162050"/>
                <a:gd name="connsiteY16" fmla="*/ 140493 h 150018"/>
                <a:gd name="connsiteX17" fmla="*/ 728662 w 1162050"/>
                <a:gd name="connsiteY17" fmla="*/ 150018 h 150018"/>
                <a:gd name="connsiteX18" fmla="*/ 778668 w 1162050"/>
                <a:gd name="connsiteY18" fmla="*/ 145256 h 150018"/>
                <a:gd name="connsiteX19" fmla="*/ 828675 w 1162050"/>
                <a:gd name="connsiteY19" fmla="*/ 145256 h 150018"/>
                <a:gd name="connsiteX20" fmla="*/ 876300 w 1162050"/>
                <a:gd name="connsiteY20" fmla="*/ 145256 h 150018"/>
                <a:gd name="connsiteX21" fmla="*/ 957262 w 1162050"/>
                <a:gd name="connsiteY21" fmla="*/ 145256 h 150018"/>
                <a:gd name="connsiteX22" fmla="*/ 981075 w 1162050"/>
                <a:gd name="connsiteY22" fmla="*/ 135731 h 150018"/>
                <a:gd name="connsiteX23" fmla="*/ 1035843 w 1162050"/>
                <a:gd name="connsiteY23" fmla="*/ 109537 h 150018"/>
                <a:gd name="connsiteX24" fmla="*/ 1059656 w 1162050"/>
                <a:gd name="connsiteY24" fmla="*/ 97631 h 150018"/>
                <a:gd name="connsiteX25" fmla="*/ 1095375 w 1162050"/>
                <a:gd name="connsiteY25" fmla="*/ 97631 h 150018"/>
                <a:gd name="connsiteX26" fmla="*/ 1128712 w 1162050"/>
                <a:gd name="connsiteY26" fmla="*/ 92868 h 150018"/>
                <a:gd name="connsiteX27" fmla="*/ 1152525 w 1162050"/>
                <a:gd name="connsiteY27" fmla="*/ 80962 h 150018"/>
                <a:gd name="connsiteX28" fmla="*/ 1162050 w 1162050"/>
                <a:gd name="connsiteY28" fmla="*/ 88106 h 150018"/>
                <a:gd name="connsiteX0" fmla="*/ 0 w 1162050"/>
                <a:gd name="connsiteY0" fmla="*/ 28575 h 150018"/>
                <a:gd name="connsiteX1" fmla="*/ 285750 w 1162050"/>
                <a:gd name="connsiteY1" fmla="*/ 0 h 150018"/>
                <a:gd name="connsiteX2" fmla="*/ 290512 w 1162050"/>
                <a:gd name="connsiteY2" fmla="*/ 26193 h 150018"/>
                <a:gd name="connsiteX3" fmla="*/ 330993 w 1162050"/>
                <a:gd name="connsiteY3" fmla="*/ 21431 h 150018"/>
                <a:gd name="connsiteX4" fmla="*/ 350043 w 1162050"/>
                <a:gd name="connsiteY4" fmla="*/ 11906 h 150018"/>
                <a:gd name="connsiteX5" fmla="*/ 388143 w 1162050"/>
                <a:gd name="connsiteY5" fmla="*/ 33337 h 150018"/>
                <a:gd name="connsiteX6" fmla="*/ 438150 w 1162050"/>
                <a:gd name="connsiteY6" fmla="*/ 38100 h 150018"/>
                <a:gd name="connsiteX7" fmla="*/ 447675 w 1162050"/>
                <a:gd name="connsiteY7" fmla="*/ 30956 h 150018"/>
                <a:gd name="connsiteX8" fmla="*/ 485775 w 1162050"/>
                <a:gd name="connsiteY8" fmla="*/ 54768 h 150018"/>
                <a:gd name="connsiteX9" fmla="*/ 511968 w 1162050"/>
                <a:gd name="connsiteY9" fmla="*/ 76200 h 150018"/>
                <a:gd name="connsiteX10" fmla="*/ 540543 w 1162050"/>
                <a:gd name="connsiteY10" fmla="*/ 76200 h 150018"/>
                <a:gd name="connsiteX11" fmla="*/ 547687 w 1162050"/>
                <a:gd name="connsiteY11" fmla="*/ 107156 h 150018"/>
                <a:gd name="connsiteX12" fmla="*/ 561975 w 1162050"/>
                <a:gd name="connsiteY12" fmla="*/ 121443 h 150018"/>
                <a:gd name="connsiteX13" fmla="*/ 602456 w 1162050"/>
                <a:gd name="connsiteY13" fmla="*/ 119062 h 150018"/>
                <a:gd name="connsiteX14" fmla="*/ 640556 w 1162050"/>
                <a:gd name="connsiteY14" fmla="*/ 119062 h 150018"/>
                <a:gd name="connsiteX15" fmla="*/ 692943 w 1162050"/>
                <a:gd name="connsiteY15" fmla="*/ 140493 h 150018"/>
                <a:gd name="connsiteX16" fmla="*/ 728662 w 1162050"/>
                <a:gd name="connsiteY16" fmla="*/ 150018 h 150018"/>
                <a:gd name="connsiteX17" fmla="*/ 778668 w 1162050"/>
                <a:gd name="connsiteY17" fmla="*/ 145256 h 150018"/>
                <a:gd name="connsiteX18" fmla="*/ 828675 w 1162050"/>
                <a:gd name="connsiteY18" fmla="*/ 145256 h 150018"/>
                <a:gd name="connsiteX19" fmla="*/ 876300 w 1162050"/>
                <a:gd name="connsiteY19" fmla="*/ 145256 h 150018"/>
                <a:gd name="connsiteX20" fmla="*/ 957262 w 1162050"/>
                <a:gd name="connsiteY20" fmla="*/ 145256 h 150018"/>
                <a:gd name="connsiteX21" fmla="*/ 981075 w 1162050"/>
                <a:gd name="connsiteY21" fmla="*/ 135731 h 150018"/>
                <a:gd name="connsiteX22" fmla="*/ 1035843 w 1162050"/>
                <a:gd name="connsiteY22" fmla="*/ 109537 h 150018"/>
                <a:gd name="connsiteX23" fmla="*/ 1059656 w 1162050"/>
                <a:gd name="connsiteY23" fmla="*/ 97631 h 150018"/>
                <a:gd name="connsiteX24" fmla="*/ 1095375 w 1162050"/>
                <a:gd name="connsiteY24" fmla="*/ 97631 h 150018"/>
                <a:gd name="connsiteX25" fmla="*/ 1128712 w 1162050"/>
                <a:gd name="connsiteY25" fmla="*/ 92868 h 150018"/>
                <a:gd name="connsiteX26" fmla="*/ 1152525 w 1162050"/>
                <a:gd name="connsiteY26" fmla="*/ 80962 h 150018"/>
                <a:gd name="connsiteX27" fmla="*/ 1162050 w 1162050"/>
                <a:gd name="connsiteY27" fmla="*/ 88106 h 150018"/>
                <a:gd name="connsiteX0" fmla="*/ 0 w 876300"/>
                <a:gd name="connsiteY0" fmla="*/ 0 h 150018"/>
                <a:gd name="connsiteX1" fmla="*/ 4762 w 876300"/>
                <a:gd name="connsiteY1" fmla="*/ 26193 h 150018"/>
                <a:gd name="connsiteX2" fmla="*/ 45243 w 876300"/>
                <a:gd name="connsiteY2" fmla="*/ 21431 h 150018"/>
                <a:gd name="connsiteX3" fmla="*/ 64293 w 876300"/>
                <a:gd name="connsiteY3" fmla="*/ 11906 h 150018"/>
                <a:gd name="connsiteX4" fmla="*/ 102393 w 876300"/>
                <a:gd name="connsiteY4" fmla="*/ 33337 h 150018"/>
                <a:gd name="connsiteX5" fmla="*/ 152400 w 876300"/>
                <a:gd name="connsiteY5" fmla="*/ 38100 h 150018"/>
                <a:gd name="connsiteX6" fmla="*/ 161925 w 876300"/>
                <a:gd name="connsiteY6" fmla="*/ 30956 h 150018"/>
                <a:gd name="connsiteX7" fmla="*/ 200025 w 876300"/>
                <a:gd name="connsiteY7" fmla="*/ 54768 h 150018"/>
                <a:gd name="connsiteX8" fmla="*/ 226218 w 876300"/>
                <a:gd name="connsiteY8" fmla="*/ 76200 h 150018"/>
                <a:gd name="connsiteX9" fmla="*/ 254793 w 876300"/>
                <a:gd name="connsiteY9" fmla="*/ 76200 h 150018"/>
                <a:gd name="connsiteX10" fmla="*/ 261937 w 876300"/>
                <a:gd name="connsiteY10" fmla="*/ 107156 h 150018"/>
                <a:gd name="connsiteX11" fmla="*/ 276225 w 876300"/>
                <a:gd name="connsiteY11" fmla="*/ 121443 h 150018"/>
                <a:gd name="connsiteX12" fmla="*/ 316706 w 876300"/>
                <a:gd name="connsiteY12" fmla="*/ 119062 h 150018"/>
                <a:gd name="connsiteX13" fmla="*/ 354806 w 876300"/>
                <a:gd name="connsiteY13" fmla="*/ 119062 h 150018"/>
                <a:gd name="connsiteX14" fmla="*/ 407193 w 876300"/>
                <a:gd name="connsiteY14" fmla="*/ 140493 h 150018"/>
                <a:gd name="connsiteX15" fmla="*/ 442912 w 876300"/>
                <a:gd name="connsiteY15" fmla="*/ 150018 h 150018"/>
                <a:gd name="connsiteX16" fmla="*/ 492918 w 876300"/>
                <a:gd name="connsiteY16" fmla="*/ 145256 h 150018"/>
                <a:gd name="connsiteX17" fmla="*/ 542925 w 876300"/>
                <a:gd name="connsiteY17" fmla="*/ 145256 h 150018"/>
                <a:gd name="connsiteX18" fmla="*/ 590550 w 876300"/>
                <a:gd name="connsiteY18" fmla="*/ 145256 h 150018"/>
                <a:gd name="connsiteX19" fmla="*/ 671512 w 876300"/>
                <a:gd name="connsiteY19" fmla="*/ 145256 h 150018"/>
                <a:gd name="connsiteX20" fmla="*/ 695325 w 876300"/>
                <a:gd name="connsiteY20" fmla="*/ 135731 h 150018"/>
                <a:gd name="connsiteX21" fmla="*/ 750093 w 876300"/>
                <a:gd name="connsiteY21" fmla="*/ 109537 h 150018"/>
                <a:gd name="connsiteX22" fmla="*/ 773906 w 876300"/>
                <a:gd name="connsiteY22" fmla="*/ 97631 h 150018"/>
                <a:gd name="connsiteX23" fmla="*/ 809625 w 876300"/>
                <a:gd name="connsiteY23" fmla="*/ 97631 h 150018"/>
                <a:gd name="connsiteX24" fmla="*/ 842962 w 876300"/>
                <a:gd name="connsiteY24" fmla="*/ 92868 h 150018"/>
                <a:gd name="connsiteX25" fmla="*/ 866775 w 876300"/>
                <a:gd name="connsiteY25" fmla="*/ 80962 h 150018"/>
                <a:gd name="connsiteX26" fmla="*/ 876300 w 876300"/>
                <a:gd name="connsiteY26" fmla="*/ 88106 h 150018"/>
                <a:gd name="connsiteX0" fmla="*/ 0 w 866812"/>
                <a:gd name="connsiteY0" fmla="*/ 0 h 257175"/>
                <a:gd name="connsiteX1" fmla="*/ 4762 w 866812"/>
                <a:gd name="connsiteY1" fmla="*/ 26193 h 257175"/>
                <a:gd name="connsiteX2" fmla="*/ 45243 w 866812"/>
                <a:gd name="connsiteY2" fmla="*/ 21431 h 257175"/>
                <a:gd name="connsiteX3" fmla="*/ 64293 w 866812"/>
                <a:gd name="connsiteY3" fmla="*/ 11906 h 257175"/>
                <a:gd name="connsiteX4" fmla="*/ 102393 w 866812"/>
                <a:gd name="connsiteY4" fmla="*/ 33337 h 257175"/>
                <a:gd name="connsiteX5" fmla="*/ 152400 w 866812"/>
                <a:gd name="connsiteY5" fmla="*/ 38100 h 257175"/>
                <a:gd name="connsiteX6" fmla="*/ 161925 w 866812"/>
                <a:gd name="connsiteY6" fmla="*/ 30956 h 257175"/>
                <a:gd name="connsiteX7" fmla="*/ 200025 w 866812"/>
                <a:gd name="connsiteY7" fmla="*/ 54768 h 257175"/>
                <a:gd name="connsiteX8" fmla="*/ 226218 w 866812"/>
                <a:gd name="connsiteY8" fmla="*/ 76200 h 257175"/>
                <a:gd name="connsiteX9" fmla="*/ 254793 w 866812"/>
                <a:gd name="connsiteY9" fmla="*/ 76200 h 257175"/>
                <a:gd name="connsiteX10" fmla="*/ 261937 w 866812"/>
                <a:gd name="connsiteY10" fmla="*/ 107156 h 257175"/>
                <a:gd name="connsiteX11" fmla="*/ 276225 w 866812"/>
                <a:gd name="connsiteY11" fmla="*/ 121443 h 257175"/>
                <a:gd name="connsiteX12" fmla="*/ 316706 w 866812"/>
                <a:gd name="connsiteY12" fmla="*/ 119062 h 257175"/>
                <a:gd name="connsiteX13" fmla="*/ 354806 w 866812"/>
                <a:gd name="connsiteY13" fmla="*/ 119062 h 257175"/>
                <a:gd name="connsiteX14" fmla="*/ 407193 w 866812"/>
                <a:gd name="connsiteY14" fmla="*/ 140493 h 257175"/>
                <a:gd name="connsiteX15" fmla="*/ 442912 w 866812"/>
                <a:gd name="connsiteY15" fmla="*/ 150018 h 257175"/>
                <a:gd name="connsiteX16" fmla="*/ 492918 w 866812"/>
                <a:gd name="connsiteY16" fmla="*/ 145256 h 257175"/>
                <a:gd name="connsiteX17" fmla="*/ 542925 w 866812"/>
                <a:gd name="connsiteY17" fmla="*/ 145256 h 257175"/>
                <a:gd name="connsiteX18" fmla="*/ 590550 w 866812"/>
                <a:gd name="connsiteY18" fmla="*/ 145256 h 257175"/>
                <a:gd name="connsiteX19" fmla="*/ 671512 w 866812"/>
                <a:gd name="connsiteY19" fmla="*/ 145256 h 257175"/>
                <a:gd name="connsiteX20" fmla="*/ 695325 w 866812"/>
                <a:gd name="connsiteY20" fmla="*/ 135731 h 257175"/>
                <a:gd name="connsiteX21" fmla="*/ 750093 w 866812"/>
                <a:gd name="connsiteY21" fmla="*/ 109537 h 257175"/>
                <a:gd name="connsiteX22" fmla="*/ 773906 w 866812"/>
                <a:gd name="connsiteY22" fmla="*/ 97631 h 257175"/>
                <a:gd name="connsiteX23" fmla="*/ 809625 w 866812"/>
                <a:gd name="connsiteY23" fmla="*/ 97631 h 257175"/>
                <a:gd name="connsiteX24" fmla="*/ 842962 w 866812"/>
                <a:gd name="connsiteY24" fmla="*/ 92868 h 257175"/>
                <a:gd name="connsiteX25" fmla="*/ 866775 w 866812"/>
                <a:gd name="connsiteY25" fmla="*/ 80962 h 257175"/>
                <a:gd name="connsiteX26" fmla="*/ 673894 w 866812"/>
                <a:gd name="connsiteY26" fmla="*/ 257175 h 257175"/>
                <a:gd name="connsiteX0" fmla="*/ 0 w 866812"/>
                <a:gd name="connsiteY0" fmla="*/ 0 h 257175"/>
                <a:gd name="connsiteX1" fmla="*/ 4762 w 866812"/>
                <a:gd name="connsiteY1" fmla="*/ 26193 h 257175"/>
                <a:gd name="connsiteX2" fmla="*/ 45243 w 866812"/>
                <a:gd name="connsiteY2" fmla="*/ 21431 h 257175"/>
                <a:gd name="connsiteX3" fmla="*/ 64293 w 866812"/>
                <a:gd name="connsiteY3" fmla="*/ 11906 h 257175"/>
                <a:gd name="connsiteX4" fmla="*/ 102393 w 866812"/>
                <a:gd name="connsiteY4" fmla="*/ 33337 h 257175"/>
                <a:gd name="connsiteX5" fmla="*/ 152400 w 866812"/>
                <a:gd name="connsiteY5" fmla="*/ 38100 h 257175"/>
                <a:gd name="connsiteX6" fmla="*/ 161925 w 866812"/>
                <a:gd name="connsiteY6" fmla="*/ 30956 h 257175"/>
                <a:gd name="connsiteX7" fmla="*/ 200025 w 866812"/>
                <a:gd name="connsiteY7" fmla="*/ 54768 h 257175"/>
                <a:gd name="connsiteX8" fmla="*/ 226218 w 866812"/>
                <a:gd name="connsiteY8" fmla="*/ 76200 h 257175"/>
                <a:gd name="connsiteX9" fmla="*/ 254793 w 866812"/>
                <a:gd name="connsiteY9" fmla="*/ 76200 h 257175"/>
                <a:gd name="connsiteX10" fmla="*/ 261937 w 866812"/>
                <a:gd name="connsiteY10" fmla="*/ 107156 h 257175"/>
                <a:gd name="connsiteX11" fmla="*/ 276225 w 866812"/>
                <a:gd name="connsiteY11" fmla="*/ 121443 h 257175"/>
                <a:gd name="connsiteX12" fmla="*/ 316706 w 866812"/>
                <a:gd name="connsiteY12" fmla="*/ 119062 h 257175"/>
                <a:gd name="connsiteX13" fmla="*/ 354806 w 866812"/>
                <a:gd name="connsiteY13" fmla="*/ 119062 h 257175"/>
                <a:gd name="connsiteX14" fmla="*/ 407193 w 866812"/>
                <a:gd name="connsiteY14" fmla="*/ 140493 h 257175"/>
                <a:gd name="connsiteX15" fmla="*/ 442912 w 866812"/>
                <a:gd name="connsiteY15" fmla="*/ 150018 h 257175"/>
                <a:gd name="connsiteX16" fmla="*/ 492918 w 866812"/>
                <a:gd name="connsiteY16" fmla="*/ 145256 h 257175"/>
                <a:gd name="connsiteX17" fmla="*/ 538163 w 866812"/>
                <a:gd name="connsiteY17" fmla="*/ 185737 h 257175"/>
                <a:gd name="connsiteX18" fmla="*/ 590550 w 866812"/>
                <a:gd name="connsiteY18" fmla="*/ 145256 h 257175"/>
                <a:gd name="connsiteX19" fmla="*/ 671512 w 866812"/>
                <a:gd name="connsiteY19" fmla="*/ 145256 h 257175"/>
                <a:gd name="connsiteX20" fmla="*/ 695325 w 866812"/>
                <a:gd name="connsiteY20" fmla="*/ 135731 h 257175"/>
                <a:gd name="connsiteX21" fmla="*/ 750093 w 866812"/>
                <a:gd name="connsiteY21" fmla="*/ 109537 h 257175"/>
                <a:gd name="connsiteX22" fmla="*/ 773906 w 866812"/>
                <a:gd name="connsiteY22" fmla="*/ 97631 h 257175"/>
                <a:gd name="connsiteX23" fmla="*/ 809625 w 866812"/>
                <a:gd name="connsiteY23" fmla="*/ 97631 h 257175"/>
                <a:gd name="connsiteX24" fmla="*/ 842962 w 866812"/>
                <a:gd name="connsiteY24" fmla="*/ 92868 h 257175"/>
                <a:gd name="connsiteX25" fmla="*/ 866775 w 866812"/>
                <a:gd name="connsiteY25" fmla="*/ 80962 h 257175"/>
                <a:gd name="connsiteX26" fmla="*/ 673894 w 866812"/>
                <a:gd name="connsiteY26" fmla="*/ 257175 h 257175"/>
                <a:gd name="connsiteX0" fmla="*/ 0 w 866812"/>
                <a:gd name="connsiteY0" fmla="*/ 0 h 257175"/>
                <a:gd name="connsiteX1" fmla="*/ 4762 w 866812"/>
                <a:gd name="connsiteY1" fmla="*/ 26193 h 257175"/>
                <a:gd name="connsiteX2" fmla="*/ 45243 w 866812"/>
                <a:gd name="connsiteY2" fmla="*/ 21431 h 257175"/>
                <a:gd name="connsiteX3" fmla="*/ 64293 w 866812"/>
                <a:gd name="connsiteY3" fmla="*/ 11906 h 257175"/>
                <a:gd name="connsiteX4" fmla="*/ 102393 w 866812"/>
                <a:gd name="connsiteY4" fmla="*/ 33337 h 257175"/>
                <a:gd name="connsiteX5" fmla="*/ 152400 w 866812"/>
                <a:gd name="connsiteY5" fmla="*/ 38100 h 257175"/>
                <a:gd name="connsiteX6" fmla="*/ 161925 w 866812"/>
                <a:gd name="connsiteY6" fmla="*/ 30956 h 257175"/>
                <a:gd name="connsiteX7" fmla="*/ 200025 w 866812"/>
                <a:gd name="connsiteY7" fmla="*/ 54768 h 257175"/>
                <a:gd name="connsiteX8" fmla="*/ 226218 w 866812"/>
                <a:gd name="connsiteY8" fmla="*/ 76200 h 257175"/>
                <a:gd name="connsiteX9" fmla="*/ 254793 w 866812"/>
                <a:gd name="connsiteY9" fmla="*/ 76200 h 257175"/>
                <a:gd name="connsiteX10" fmla="*/ 261937 w 866812"/>
                <a:gd name="connsiteY10" fmla="*/ 107156 h 257175"/>
                <a:gd name="connsiteX11" fmla="*/ 276225 w 866812"/>
                <a:gd name="connsiteY11" fmla="*/ 121443 h 257175"/>
                <a:gd name="connsiteX12" fmla="*/ 316706 w 866812"/>
                <a:gd name="connsiteY12" fmla="*/ 119062 h 257175"/>
                <a:gd name="connsiteX13" fmla="*/ 354806 w 866812"/>
                <a:gd name="connsiteY13" fmla="*/ 119062 h 257175"/>
                <a:gd name="connsiteX14" fmla="*/ 407193 w 866812"/>
                <a:gd name="connsiteY14" fmla="*/ 140493 h 257175"/>
                <a:gd name="connsiteX15" fmla="*/ 442912 w 866812"/>
                <a:gd name="connsiteY15" fmla="*/ 150018 h 257175"/>
                <a:gd name="connsiteX16" fmla="*/ 492918 w 866812"/>
                <a:gd name="connsiteY16" fmla="*/ 145256 h 257175"/>
                <a:gd name="connsiteX17" fmla="*/ 538163 w 866812"/>
                <a:gd name="connsiteY17" fmla="*/ 185737 h 257175"/>
                <a:gd name="connsiteX18" fmla="*/ 545306 w 866812"/>
                <a:gd name="connsiteY18" fmla="*/ 211931 h 257175"/>
                <a:gd name="connsiteX19" fmla="*/ 671512 w 866812"/>
                <a:gd name="connsiteY19" fmla="*/ 145256 h 257175"/>
                <a:gd name="connsiteX20" fmla="*/ 695325 w 866812"/>
                <a:gd name="connsiteY20" fmla="*/ 135731 h 257175"/>
                <a:gd name="connsiteX21" fmla="*/ 750093 w 866812"/>
                <a:gd name="connsiteY21" fmla="*/ 109537 h 257175"/>
                <a:gd name="connsiteX22" fmla="*/ 773906 w 866812"/>
                <a:gd name="connsiteY22" fmla="*/ 97631 h 257175"/>
                <a:gd name="connsiteX23" fmla="*/ 809625 w 866812"/>
                <a:gd name="connsiteY23" fmla="*/ 97631 h 257175"/>
                <a:gd name="connsiteX24" fmla="*/ 842962 w 866812"/>
                <a:gd name="connsiteY24" fmla="*/ 92868 h 257175"/>
                <a:gd name="connsiteX25" fmla="*/ 866775 w 866812"/>
                <a:gd name="connsiteY25" fmla="*/ 80962 h 257175"/>
                <a:gd name="connsiteX26" fmla="*/ 673894 w 866812"/>
                <a:gd name="connsiteY26" fmla="*/ 257175 h 257175"/>
                <a:gd name="connsiteX0" fmla="*/ 0 w 866812"/>
                <a:gd name="connsiteY0" fmla="*/ 0 h 257175"/>
                <a:gd name="connsiteX1" fmla="*/ 4762 w 866812"/>
                <a:gd name="connsiteY1" fmla="*/ 26193 h 257175"/>
                <a:gd name="connsiteX2" fmla="*/ 45243 w 866812"/>
                <a:gd name="connsiteY2" fmla="*/ 21431 h 257175"/>
                <a:gd name="connsiteX3" fmla="*/ 64293 w 866812"/>
                <a:gd name="connsiteY3" fmla="*/ 11906 h 257175"/>
                <a:gd name="connsiteX4" fmla="*/ 102393 w 866812"/>
                <a:gd name="connsiteY4" fmla="*/ 33337 h 257175"/>
                <a:gd name="connsiteX5" fmla="*/ 152400 w 866812"/>
                <a:gd name="connsiteY5" fmla="*/ 38100 h 257175"/>
                <a:gd name="connsiteX6" fmla="*/ 161925 w 866812"/>
                <a:gd name="connsiteY6" fmla="*/ 30956 h 257175"/>
                <a:gd name="connsiteX7" fmla="*/ 200025 w 866812"/>
                <a:gd name="connsiteY7" fmla="*/ 54768 h 257175"/>
                <a:gd name="connsiteX8" fmla="*/ 226218 w 866812"/>
                <a:gd name="connsiteY8" fmla="*/ 76200 h 257175"/>
                <a:gd name="connsiteX9" fmla="*/ 254793 w 866812"/>
                <a:gd name="connsiteY9" fmla="*/ 76200 h 257175"/>
                <a:gd name="connsiteX10" fmla="*/ 261937 w 866812"/>
                <a:gd name="connsiteY10" fmla="*/ 107156 h 257175"/>
                <a:gd name="connsiteX11" fmla="*/ 276225 w 866812"/>
                <a:gd name="connsiteY11" fmla="*/ 121443 h 257175"/>
                <a:gd name="connsiteX12" fmla="*/ 316706 w 866812"/>
                <a:gd name="connsiteY12" fmla="*/ 119062 h 257175"/>
                <a:gd name="connsiteX13" fmla="*/ 354806 w 866812"/>
                <a:gd name="connsiteY13" fmla="*/ 119062 h 257175"/>
                <a:gd name="connsiteX14" fmla="*/ 407193 w 866812"/>
                <a:gd name="connsiteY14" fmla="*/ 140493 h 257175"/>
                <a:gd name="connsiteX15" fmla="*/ 442912 w 866812"/>
                <a:gd name="connsiteY15" fmla="*/ 150018 h 257175"/>
                <a:gd name="connsiteX16" fmla="*/ 492918 w 866812"/>
                <a:gd name="connsiteY16" fmla="*/ 145256 h 257175"/>
                <a:gd name="connsiteX17" fmla="*/ 538163 w 866812"/>
                <a:gd name="connsiteY17" fmla="*/ 185737 h 257175"/>
                <a:gd name="connsiteX18" fmla="*/ 545306 w 866812"/>
                <a:gd name="connsiteY18" fmla="*/ 211931 h 257175"/>
                <a:gd name="connsiteX19" fmla="*/ 583406 w 866812"/>
                <a:gd name="connsiteY19" fmla="*/ 214312 h 257175"/>
                <a:gd name="connsiteX20" fmla="*/ 695325 w 866812"/>
                <a:gd name="connsiteY20" fmla="*/ 135731 h 257175"/>
                <a:gd name="connsiteX21" fmla="*/ 750093 w 866812"/>
                <a:gd name="connsiteY21" fmla="*/ 109537 h 257175"/>
                <a:gd name="connsiteX22" fmla="*/ 773906 w 866812"/>
                <a:gd name="connsiteY22" fmla="*/ 97631 h 257175"/>
                <a:gd name="connsiteX23" fmla="*/ 809625 w 866812"/>
                <a:gd name="connsiteY23" fmla="*/ 97631 h 257175"/>
                <a:gd name="connsiteX24" fmla="*/ 842962 w 866812"/>
                <a:gd name="connsiteY24" fmla="*/ 92868 h 257175"/>
                <a:gd name="connsiteX25" fmla="*/ 866775 w 866812"/>
                <a:gd name="connsiteY25" fmla="*/ 80962 h 257175"/>
                <a:gd name="connsiteX26" fmla="*/ 673894 w 866812"/>
                <a:gd name="connsiteY26" fmla="*/ 257175 h 257175"/>
                <a:gd name="connsiteX0" fmla="*/ 0 w 866812"/>
                <a:gd name="connsiteY0" fmla="*/ 0 h 259556"/>
                <a:gd name="connsiteX1" fmla="*/ 4762 w 866812"/>
                <a:gd name="connsiteY1" fmla="*/ 26193 h 259556"/>
                <a:gd name="connsiteX2" fmla="*/ 45243 w 866812"/>
                <a:gd name="connsiteY2" fmla="*/ 21431 h 259556"/>
                <a:gd name="connsiteX3" fmla="*/ 64293 w 866812"/>
                <a:gd name="connsiteY3" fmla="*/ 11906 h 259556"/>
                <a:gd name="connsiteX4" fmla="*/ 102393 w 866812"/>
                <a:gd name="connsiteY4" fmla="*/ 33337 h 259556"/>
                <a:gd name="connsiteX5" fmla="*/ 152400 w 866812"/>
                <a:gd name="connsiteY5" fmla="*/ 38100 h 259556"/>
                <a:gd name="connsiteX6" fmla="*/ 161925 w 866812"/>
                <a:gd name="connsiteY6" fmla="*/ 30956 h 259556"/>
                <a:gd name="connsiteX7" fmla="*/ 200025 w 866812"/>
                <a:gd name="connsiteY7" fmla="*/ 54768 h 259556"/>
                <a:gd name="connsiteX8" fmla="*/ 226218 w 866812"/>
                <a:gd name="connsiteY8" fmla="*/ 76200 h 259556"/>
                <a:gd name="connsiteX9" fmla="*/ 254793 w 866812"/>
                <a:gd name="connsiteY9" fmla="*/ 76200 h 259556"/>
                <a:gd name="connsiteX10" fmla="*/ 261937 w 866812"/>
                <a:gd name="connsiteY10" fmla="*/ 107156 h 259556"/>
                <a:gd name="connsiteX11" fmla="*/ 276225 w 866812"/>
                <a:gd name="connsiteY11" fmla="*/ 121443 h 259556"/>
                <a:gd name="connsiteX12" fmla="*/ 316706 w 866812"/>
                <a:gd name="connsiteY12" fmla="*/ 119062 h 259556"/>
                <a:gd name="connsiteX13" fmla="*/ 354806 w 866812"/>
                <a:gd name="connsiteY13" fmla="*/ 119062 h 259556"/>
                <a:gd name="connsiteX14" fmla="*/ 407193 w 866812"/>
                <a:gd name="connsiteY14" fmla="*/ 140493 h 259556"/>
                <a:gd name="connsiteX15" fmla="*/ 442912 w 866812"/>
                <a:gd name="connsiteY15" fmla="*/ 150018 h 259556"/>
                <a:gd name="connsiteX16" fmla="*/ 492918 w 866812"/>
                <a:gd name="connsiteY16" fmla="*/ 145256 h 259556"/>
                <a:gd name="connsiteX17" fmla="*/ 538163 w 866812"/>
                <a:gd name="connsiteY17" fmla="*/ 185737 h 259556"/>
                <a:gd name="connsiteX18" fmla="*/ 545306 w 866812"/>
                <a:gd name="connsiteY18" fmla="*/ 211931 h 259556"/>
                <a:gd name="connsiteX19" fmla="*/ 583406 w 866812"/>
                <a:gd name="connsiteY19" fmla="*/ 214312 h 259556"/>
                <a:gd name="connsiteX20" fmla="*/ 585787 w 866812"/>
                <a:gd name="connsiteY20" fmla="*/ 259556 h 259556"/>
                <a:gd name="connsiteX21" fmla="*/ 750093 w 866812"/>
                <a:gd name="connsiteY21" fmla="*/ 109537 h 259556"/>
                <a:gd name="connsiteX22" fmla="*/ 773906 w 866812"/>
                <a:gd name="connsiteY22" fmla="*/ 97631 h 259556"/>
                <a:gd name="connsiteX23" fmla="*/ 809625 w 866812"/>
                <a:gd name="connsiteY23" fmla="*/ 97631 h 259556"/>
                <a:gd name="connsiteX24" fmla="*/ 842962 w 866812"/>
                <a:gd name="connsiteY24" fmla="*/ 92868 h 259556"/>
                <a:gd name="connsiteX25" fmla="*/ 866775 w 866812"/>
                <a:gd name="connsiteY25" fmla="*/ 80962 h 259556"/>
                <a:gd name="connsiteX26" fmla="*/ 673894 w 866812"/>
                <a:gd name="connsiteY26" fmla="*/ 257175 h 259556"/>
                <a:gd name="connsiteX0" fmla="*/ 0 w 866812"/>
                <a:gd name="connsiteY0" fmla="*/ 0 h 259556"/>
                <a:gd name="connsiteX1" fmla="*/ 4762 w 866812"/>
                <a:gd name="connsiteY1" fmla="*/ 26193 h 259556"/>
                <a:gd name="connsiteX2" fmla="*/ 45243 w 866812"/>
                <a:gd name="connsiteY2" fmla="*/ 21431 h 259556"/>
                <a:gd name="connsiteX3" fmla="*/ 64293 w 866812"/>
                <a:gd name="connsiteY3" fmla="*/ 11906 h 259556"/>
                <a:gd name="connsiteX4" fmla="*/ 102393 w 866812"/>
                <a:gd name="connsiteY4" fmla="*/ 33337 h 259556"/>
                <a:gd name="connsiteX5" fmla="*/ 152400 w 866812"/>
                <a:gd name="connsiteY5" fmla="*/ 38100 h 259556"/>
                <a:gd name="connsiteX6" fmla="*/ 161925 w 866812"/>
                <a:gd name="connsiteY6" fmla="*/ 30956 h 259556"/>
                <a:gd name="connsiteX7" fmla="*/ 200025 w 866812"/>
                <a:gd name="connsiteY7" fmla="*/ 54768 h 259556"/>
                <a:gd name="connsiteX8" fmla="*/ 226218 w 866812"/>
                <a:gd name="connsiteY8" fmla="*/ 76200 h 259556"/>
                <a:gd name="connsiteX9" fmla="*/ 254793 w 866812"/>
                <a:gd name="connsiteY9" fmla="*/ 76200 h 259556"/>
                <a:gd name="connsiteX10" fmla="*/ 261937 w 866812"/>
                <a:gd name="connsiteY10" fmla="*/ 107156 h 259556"/>
                <a:gd name="connsiteX11" fmla="*/ 276225 w 866812"/>
                <a:gd name="connsiteY11" fmla="*/ 121443 h 259556"/>
                <a:gd name="connsiteX12" fmla="*/ 316706 w 866812"/>
                <a:gd name="connsiteY12" fmla="*/ 119062 h 259556"/>
                <a:gd name="connsiteX13" fmla="*/ 354806 w 866812"/>
                <a:gd name="connsiteY13" fmla="*/ 119062 h 259556"/>
                <a:gd name="connsiteX14" fmla="*/ 407193 w 866812"/>
                <a:gd name="connsiteY14" fmla="*/ 140493 h 259556"/>
                <a:gd name="connsiteX15" fmla="*/ 442912 w 866812"/>
                <a:gd name="connsiteY15" fmla="*/ 150018 h 259556"/>
                <a:gd name="connsiteX16" fmla="*/ 492918 w 866812"/>
                <a:gd name="connsiteY16" fmla="*/ 145256 h 259556"/>
                <a:gd name="connsiteX17" fmla="*/ 538163 w 866812"/>
                <a:gd name="connsiteY17" fmla="*/ 185737 h 259556"/>
                <a:gd name="connsiteX18" fmla="*/ 545306 w 866812"/>
                <a:gd name="connsiteY18" fmla="*/ 211931 h 259556"/>
                <a:gd name="connsiteX19" fmla="*/ 583406 w 866812"/>
                <a:gd name="connsiteY19" fmla="*/ 214312 h 259556"/>
                <a:gd name="connsiteX20" fmla="*/ 585787 w 866812"/>
                <a:gd name="connsiteY20" fmla="*/ 259556 h 259556"/>
                <a:gd name="connsiteX21" fmla="*/ 642937 w 866812"/>
                <a:gd name="connsiteY21" fmla="*/ 252412 h 259556"/>
                <a:gd name="connsiteX22" fmla="*/ 773906 w 866812"/>
                <a:gd name="connsiteY22" fmla="*/ 97631 h 259556"/>
                <a:gd name="connsiteX23" fmla="*/ 809625 w 866812"/>
                <a:gd name="connsiteY23" fmla="*/ 97631 h 259556"/>
                <a:gd name="connsiteX24" fmla="*/ 842962 w 866812"/>
                <a:gd name="connsiteY24" fmla="*/ 92868 h 259556"/>
                <a:gd name="connsiteX25" fmla="*/ 866775 w 866812"/>
                <a:gd name="connsiteY25" fmla="*/ 80962 h 259556"/>
                <a:gd name="connsiteX26" fmla="*/ 673894 w 866812"/>
                <a:gd name="connsiteY26" fmla="*/ 257175 h 259556"/>
                <a:gd name="connsiteX0" fmla="*/ 0 w 866812"/>
                <a:gd name="connsiteY0" fmla="*/ 0 h 259556"/>
                <a:gd name="connsiteX1" fmla="*/ 4762 w 866812"/>
                <a:gd name="connsiteY1" fmla="*/ 26193 h 259556"/>
                <a:gd name="connsiteX2" fmla="*/ 45243 w 866812"/>
                <a:gd name="connsiteY2" fmla="*/ 21431 h 259556"/>
                <a:gd name="connsiteX3" fmla="*/ 64293 w 866812"/>
                <a:gd name="connsiteY3" fmla="*/ 11906 h 259556"/>
                <a:gd name="connsiteX4" fmla="*/ 102393 w 866812"/>
                <a:gd name="connsiteY4" fmla="*/ 33337 h 259556"/>
                <a:gd name="connsiteX5" fmla="*/ 152400 w 866812"/>
                <a:gd name="connsiteY5" fmla="*/ 38100 h 259556"/>
                <a:gd name="connsiteX6" fmla="*/ 161925 w 866812"/>
                <a:gd name="connsiteY6" fmla="*/ 30956 h 259556"/>
                <a:gd name="connsiteX7" fmla="*/ 200025 w 866812"/>
                <a:gd name="connsiteY7" fmla="*/ 54768 h 259556"/>
                <a:gd name="connsiteX8" fmla="*/ 226218 w 866812"/>
                <a:gd name="connsiteY8" fmla="*/ 76200 h 259556"/>
                <a:gd name="connsiteX9" fmla="*/ 254793 w 866812"/>
                <a:gd name="connsiteY9" fmla="*/ 76200 h 259556"/>
                <a:gd name="connsiteX10" fmla="*/ 261937 w 866812"/>
                <a:gd name="connsiteY10" fmla="*/ 107156 h 259556"/>
                <a:gd name="connsiteX11" fmla="*/ 276225 w 866812"/>
                <a:gd name="connsiteY11" fmla="*/ 121443 h 259556"/>
                <a:gd name="connsiteX12" fmla="*/ 316706 w 866812"/>
                <a:gd name="connsiteY12" fmla="*/ 119062 h 259556"/>
                <a:gd name="connsiteX13" fmla="*/ 354806 w 866812"/>
                <a:gd name="connsiteY13" fmla="*/ 119062 h 259556"/>
                <a:gd name="connsiteX14" fmla="*/ 407193 w 866812"/>
                <a:gd name="connsiteY14" fmla="*/ 140493 h 259556"/>
                <a:gd name="connsiteX15" fmla="*/ 442912 w 866812"/>
                <a:gd name="connsiteY15" fmla="*/ 150018 h 259556"/>
                <a:gd name="connsiteX16" fmla="*/ 492918 w 866812"/>
                <a:gd name="connsiteY16" fmla="*/ 145256 h 259556"/>
                <a:gd name="connsiteX17" fmla="*/ 538163 w 866812"/>
                <a:gd name="connsiteY17" fmla="*/ 185737 h 259556"/>
                <a:gd name="connsiteX18" fmla="*/ 545306 w 866812"/>
                <a:gd name="connsiteY18" fmla="*/ 211931 h 259556"/>
                <a:gd name="connsiteX19" fmla="*/ 583406 w 866812"/>
                <a:gd name="connsiteY19" fmla="*/ 214312 h 259556"/>
                <a:gd name="connsiteX20" fmla="*/ 585787 w 866812"/>
                <a:gd name="connsiteY20" fmla="*/ 259556 h 259556"/>
                <a:gd name="connsiteX21" fmla="*/ 642937 w 866812"/>
                <a:gd name="connsiteY21" fmla="*/ 252412 h 259556"/>
                <a:gd name="connsiteX22" fmla="*/ 728662 w 866812"/>
                <a:gd name="connsiteY22" fmla="*/ 138112 h 259556"/>
                <a:gd name="connsiteX23" fmla="*/ 809625 w 866812"/>
                <a:gd name="connsiteY23" fmla="*/ 97631 h 259556"/>
                <a:gd name="connsiteX24" fmla="*/ 842962 w 866812"/>
                <a:gd name="connsiteY24" fmla="*/ 92868 h 259556"/>
                <a:gd name="connsiteX25" fmla="*/ 866775 w 866812"/>
                <a:gd name="connsiteY25" fmla="*/ 80962 h 259556"/>
                <a:gd name="connsiteX26" fmla="*/ 673894 w 866812"/>
                <a:gd name="connsiteY26" fmla="*/ 257175 h 259556"/>
                <a:gd name="connsiteX0" fmla="*/ 0 w 866812"/>
                <a:gd name="connsiteY0" fmla="*/ 0 h 259556"/>
                <a:gd name="connsiteX1" fmla="*/ 4762 w 866812"/>
                <a:gd name="connsiteY1" fmla="*/ 26193 h 259556"/>
                <a:gd name="connsiteX2" fmla="*/ 45243 w 866812"/>
                <a:gd name="connsiteY2" fmla="*/ 21431 h 259556"/>
                <a:gd name="connsiteX3" fmla="*/ 64293 w 866812"/>
                <a:gd name="connsiteY3" fmla="*/ 11906 h 259556"/>
                <a:gd name="connsiteX4" fmla="*/ 102393 w 866812"/>
                <a:gd name="connsiteY4" fmla="*/ 33337 h 259556"/>
                <a:gd name="connsiteX5" fmla="*/ 152400 w 866812"/>
                <a:gd name="connsiteY5" fmla="*/ 38100 h 259556"/>
                <a:gd name="connsiteX6" fmla="*/ 161925 w 866812"/>
                <a:gd name="connsiteY6" fmla="*/ 30956 h 259556"/>
                <a:gd name="connsiteX7" fmla="*/ 200025 w 866812"/>
                <a:gd name="connsiteY7" fmla="*/ 54768 h 259556"/>
                <a:gd name="connsiteX8" fmla="*/ 226218 w 866812"/>
                <a:gd name="connsiteY8" fmla="*/ 76200 h 259556"/>
                <a:gd name="connsiteX9" fmla="*/ 254793 w 866812"/>
                <a:gd name="connsiteY9" fmla="*/ 76200 h 259556"/>
                <a:gd name="connsiteX10" fmla="*/ 261937 w 866812"/>
                <a:gd name="connsiteY10" fmla="*/ 107156 h 259556"/>
                <a:gd name="connsiteX11" fmla="*/ 276225 w 866812"/>
                <a:gd name="connsiteY11" fmla="*/ 121443 h 259556"/>
                <a:gd name="connsiteX12" fmla="*/ 316706 w 866812"/>
                <a:gd name="connsiteY12" fmla="*/ 119062 h 259556"/>
                <a:gd name="connsiteX13" fmla="*/ 354806 w 866812"/>
                <a:gd name="connsiteY13" fmla="*/ 119062 h 259556"/>
                <a:gd name="connsiteX14" fmla="*/ 407193 w 866812"/>
                <a:gd name="connsiteY14" fmla="*/ 140493 h 259556"/>
                <a:gd name="connsiteX15" fmla="*/ 442912 w 866812"/>
                <a:gd name="connsiteY15" fmla="*/ 150018 h 259556"/>
                <a:gd name="connsiteX16" fmla="*/ 492918 w 866812"/>
                <a:gd name="connsiteY16" fmla="*/ 145256 h 259556"/>
                <a:gd name="connsiteX17" fmla="*/ 538163 w 866812"/>
                <a:gd name="connsiteY17" fmla="*/ 185737 h 259556"/>
                <a:gd name="connsiteX18" fmla="*/ 545306 w 866812"/>
                <a:gd name="connsiteY18" fmla="*/ 211931 h 259556"/>
                <a:gd name="connsiteX19" fmla="*/ 583406 w 866812"/>
                <a:gd name="connsiteY19" fmla="*/ 214312 h 259556"/>
                <a:gd name="connsiteX20" fmla="*/ 585787 w 866812"/>
                <a:gd name="connsiteY20" fmla="*/ 259556 h 259556"/>
                <a:gd name="connsiteX21" fmla="*/ 642937 w 866812"/>
                <a:gd name="connsiteY21" fmla="*/ 252412 h 259556"/>
                <a:gd name="connsiteX22" fmla="*/ 809625 w 866812"/>
                <a:gd name="connsiteY22" fmla="*/ 97631 h 259556"/>
                <a:gd name="connsiteX23" fmla="*/ 842962 w 866812"/>
                <a:gd name="connsiteY23" fmla="*/ 92868 h 259556"/>
                <a:gd name="connsiteX24" fmla="*/ 866775 w 866812"/>
                <a:gd name="connsiteY24" fmla="*/ 80962 h 259556"/>
                <a:gd name="connsiteX25" fmla="*/ 673894 w 866812"/>
                <a:gd name="connsiteY25" fmla="*/ 257175 h 259556"/>
                <a:gd name="connsiteX0" fmla="*/ 0 w 866812"/>
                <a:gd name="connsiteY0" fmla="*/ 0 h 259556"/>
                <a:gd name="connsiteX1" fmla="*/ 4762 w 866812"/>
                <a:gd name="connsiteY1" fmla="*/ 26193 h 259556"/>
                <a:gd name="connsiteX2" fmla="*/ 45243 w 866812"/>
                <a:gd name="connsiteY2" fmla="*/ 21431 h 259556"/>
                <a:gd name="connsiteX3" fmla="*/ 64293 w 866812"/>
                <a:gd name="connsiteY3" fmla="*/ 11906 h 259556"/>
                <a:gd name="connsiteX4" fmla="*/ 102393 w 866812"/>
                <a:gd name="connsiteY4" fmla="*/ 33337 h 259556"/>
                <a:gd name="connsiteX5" fmla="*/ 152400 w 866812"/>
                <a:gd name="connsiteY5" fmla="*/ 38100 h 259556"/>
                <a:gd name="connsiteX6" fmla="*/ 161925 w 866812"/>
                <a:gd name="connsiteY6" fmla="*/ 30956 h 259556"/>
                <a:gd name="connsiteX7" fmla="*/ 200025 w 866812"/>
                <a:gd name="connsiteY7" fmla="*/ 54768 h 259556"/>
                <a:gd name="connsiteX8" fmla="*/ 226218 w 866812"/>
                <a:gd name="connsiteY8" fmla="*/ 76200 h 259556"/>
                <a:gd name="connsiteX9" fmla="*/ 254793 w 866812"/>
                <a:gd name="connsiteY9" fmla="*/ 76200 h 259556"/>
                <a:gd name="connsiteX10" fmla="*/ 261937 w 866812"/>
                <a:gd name="connsiteY10" fmla="*/ 107156 h 259556"/>
                <a:gd name="connsiteX11" fmla="*/ 276225 w 866812"/>
                <a:gd name="connsiteY11" fmla="*/ 121443 h 259556"/>
                <a:gd name="connsiteX12" fmla="*/ 316706 w 866812"/>
                <a:gd name="connsiteY12" fmla="*/ 119062 h 259556"/>
                <a:gd name="connsiteX13" fmla="*/ 354806 w 866812"/>
                <a:gd name="connsiteY13" fmla="*/ 119062 h 259556"/>
                <a:gd name="connsiteX14" fmla="*/ 407193 w 866812"/>
                <a:gd name="connsiteY14" fmla="*/ 140493 h 259556"/>
                <a:gd name="connsiteX15" fmla="*/ 442912 w 866812"/>
                <a:gd name="connsiteY15" fmla="*/ 150018 h 259556"/>
                <a:gd name="connsiteX16" fmla="*/ 492918 w 866812"/>
                <a:gd name="connsiteY16" fmla="*/ 145256 h 259556"/>
                <a:gd name="connsiteX17" fmla="*/ 538163 w 866812"/>
                <a:gd name="connsiteY17" fmla="*/ 185737 h 259556"/>
                <a:gd name="connsiteX18" fmla="*/ 545306 w 866812"/>
                <a:gd name="connsiteY18" fmla="*/ 211931 h 259556"/>
                <a:gd name="connsiteX19" fmla="*/ 583406 w 866812"/>
                <a:gd name="connsiteY19" fmla="*/ 214312 h 259556"/>
                <a:gd name="connsiteX20" fmla="*/ 585787 w 866812"/>
                <a:gd name="connsiteY20" fmla="*/ 259556 h 259556"/>
                <a:gd name="connsiteX21" fmla="*/ 642937 w 866812"/>
                <a:gd name="connsiteY21" fmla="*/ 252412 h 259556"/>
                <a:gd name="connsiteX22" fmla="*/ 842962 w 866812"/>
                <a:gd name="connsiteY22" fmla="*/ 92868 h 259556"/>
                <a:gd name="connsiteX23" fmla="*/ 866775 w 866812"/>
                <a:gd name="connsiteY23" fmla="*/ 80962 h 259556"/>
                <a:gd name="connsiteX24" fmla="*/ 673894 w 866812"/>
                <a:gd name="connsiteY24" fmla="*/ 257175 h 259556"/>
                <a:gd name="connsiteX0" fmla="*/ 0 w 866812"/>
                <a:gd name="connsiteY0" fmla="*/ 0 h 259556"/>
                <a:gd name="connsiteX1" fmla="*/ 4762 w 866812"/>
                <a:gd name="connsiteY1" fmla="*/ 26193 h 259556"/>
                <a:gd name="connsiteX2" fmla="*/ 45243 w 866812"/>
                <a:gd name="connsiteY2" fmla="*/ 21431 h 259556"/>
                <a:gd name="connsiteX3" fmla="*/ 64293 w 866812"/>
                <a:gd name="connsiteY3" fmla="*/ 11906 h 259556"/>
                <a:gd name="connsiteX4" fmla="*/ 102393 w 866812"/>
                <a:gd name="connsiteY4" fmla="*/ 33337 h 259556"/>
                <a:gd name="connsiteX5" fmla="*/ 152400 w 866812"/>
                <a:gd name="connsiteY5" fmla="*/ 38100 h 259556"/>
                <a:gd name="connsiteX6" fmla="*/ 161925 w 866812"/>
                <a:gd name="connsiteY6" fmla="*/ 30956 h 259556"/>
                <a:gd name="connsiteX7" fmla="*/ 200025 w 866812"/>
                <a:gd name="connsiteY7" fmla="*/ 54768 h 259556"/>
                <a:gd name="connsiteX8" fmla="*/ 226218 w 866812"/>
                <a:gd name="connsiteY8" fmla="*/ 76200 h 259556"/>
                <a:gd name="connsiteX9" fmla="*/ 254793 w 866812"/>
                <a:gd name="connsiteY9" fmla="*/ 76200 h 259556"/>
                <a:gd name="connsiteX10" fmla="*/ 261937 w 866812"/>
                <a:gd name="connsiteY10" fmla="*/ 107156 h 259556"/>
                <a:gd name="connsiteX11" fmla="*/ 276225 w 866812"/>
                <a:gd name="connsiteY11" fmla="*/ 121443 h 259556"/>
                <a:gd name="connsiteX12" fmla="*/ 316706 w 866812"/>
                <a:gd name="connsiteY12" fmla="*/ 119062 h 259556"/>
                <a:gd name="connsiteX13" fmla="*/ 354806 w 866812"/>
                <a:gd name="connsiteY13" fmla="*/ 119062 h 259556"/>
                <a:gd name="connsiteX14" fmla="*/ 407193 w 866812"/>
                <a:gd name="connsiteY14" fmla="*/ 140493 h 259556"/>
                <a:gd name="connsiteX15" fmla="*/ 442912 w 866812"/>
                <a:gd name="connsiteY15" fmla="*/ 150018 h 259556"/>
                <a:gd name="connsiteX16" fmla="*/ 492918 w 866812"/>
                <a:gd name="connsiteY16" fmla="*/ 145256 h 259556"/>
                <a:gd name="connsiteX17" fmla="*/ 538163 w 866812"/>
                <a:gd name="connsiteY17" fmla="*/ 185737 h 259556"/>
                <a:gd name="connsiteX18" fmla="*/ 545306 w 866812"/>
                <a:gd name="connsiteY18" fmla="*/ 211931 h 259556"/>
                <a:gd name="connsiteX19" fmla="*/ 583406 w 866812"/>
                <a:gd name="connsiteY19" fmla="*/ 214312 h 259556"/>
                <a:gd name="connsiteX20" fmla="*/ 585787 w 866812"/>
                <a:gd name="connsiteY20" fmla="*/ 259556 h 259556"/>
                <a:gd name="connsiteX21" fmla="*/ 642937 w 866812"/>
                <a:gd name="connsiteY21" fmla="*/ 252412 h 259556"/>
                <a:gd name="connsiteX22" fmla="*/ 866775 w 866812"/>
                <a:gd name="connsiteY22" fmla="*/ 80962 h 259556"/>
                <a:gd name="connsiteX23" fmla="*/ 673894 w 866812"/>
                <a:gd name="connsiteY23" fmla="*/ 257175 h 259556"/>
                <a:gd name="connsiteX0" fmla="*/ 0 w 673894"/>
                <a:gd name="connsiteY0" fmla="*/ 0 h 259556"/>
                <a:gd name="connsiteX1" fmla="*/ 4762 w 673894"/>
                <a:gd name="connsiteY1" fmla="*/ 26193 h 259556"/>
                <a:gd name="connsiteX2" fmla="*/ 45243 w 673894"/>
                <a:gd name="connsiteY2" fmla="*/ 21431 h 259556"/>
                <a:gd name="connsiteX3" fmla="*/ 64293 w 673894"/>
                <a:gd name="connsiteY3" fmla="*/ 11906 h 259556"/>
                <a:gd name="connsiteX4" fmla="*/ 102393 w 673894"/>
                <a:gd name="connsiteY4" fmla="*/ 33337 h 259556"/>
                <a:gd name="connsiteX5" fmla="*/ 152400 w 673894"/>
                <a:gd name="connsiteY5" fmla="*/ 38100 h 259556"/>
                <a:gd name="connsiteX6" fmla="*/ 161925 w 673894"/>
                <a:gd name="connsiteY6" fmla="*/ 30956 h 259556"/>
                <a:gd name="connsiteX7" fmla="*/ 200025 w 673894"/>
                <a:gd name="connsiteY7" fmla="*/ 54768 h 259556"/>
                <a:gd name="connsiteX8" fmla="*/ 226218 w 673894"/>
                <a:gd name="connsiteY8" fmla="*/ 76200 h 259556"/>
                <a:gd name="connsiteX9" fmla="*/ 254793 w 673894"/>
                <a:gd name="connsiteY9" fmla="*/ 76200 h 259556"/>
                <a:gd name="connsiteX10" fmla="*/ 261937 w 673894"/>
                <a:gd name="connsiteY10" fmla="*/ 107156 h 259556"/>
                <a:gd name="connsiteX11" fmla="*/ 276225 w 673894"/>
                <a:gd name="connsiteY11" fmla="*/ 121443 h 259556"/>
                <a:gd name="connsiteX12" fmla="*/ 316706 w 673894"/>
                <a:gd name="connsiteY12" fmla="*/ 119062 h 259556"/>
                <a:gd name="connsiteX13" fmla="*/ 354806 w 673894"/>
                <a:gd name="connsiteY13" fmla="*/ 119062 h 259556"/>
                <a:gd name="connsiteX14" fmla="*/ 407193 w 673894"/>
                <a:gd name="connsiteY14" fmla="*/ 140493 h 259556"/>
                <a:gd name="connsiteX15" fmla="*/ 442912 w 673894"/>
                <a:gd name="connsiteY15" fmla="*/ 150018 h 259556"/>
                <a:gd name="connsiteX16" fmla="*/ 492918 w 673894"/>
                <a:gd name="connsiteY16" fmla="*/ 145256 h 259556"/>
                <a:gd name="connsiteX17" fmla="*/ 538163 w 673894"/>
                <a:gd name="connsiteY17" fmla="*/ 185737 h 259556"/>
                <a:gd name="connsiteX18" fmla="*/ 545306 w 673894"/>
                <a:gd name="connsiteY18" fmla="*/ 211931 h 259556"/>
                <a:gd name="connsiteX19" fmla="*/ 583406 w 673894"/>
                <a:gd name="connsiteY19" fmla="*/ 214312 h 259556"/>
                <a:gd name="connsiteX20" fmla="*/ 585787 w 673894"/>
                <a:gd name="connsiteY20" fmla="*/ 259556 h 259556"/>
                <a:gd name="connsiteX21" fmla="*/ 642937 w 673894"/>
                <a:gd name="connsiteY21" fmla="*/ 252412 h 259556"/>
                <a:gd name="connsiteX22" fmla="*/ 673894 w 673894"/>
                <a:gd name="connsiteY22" fmla="*/ 257175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73894" h="259556">
                  <a:moveTo>
                    <a:pt x="0" y="0"/>
                  </a:moveTo>
                  <a:lnTo>
                    <a:pt x="4762" y="26193"/>
                  </a:lnTo>
                  <a:lnTo>
                    <a:pt x="45243" y="21431"/>
                  </a:lnTo>
                  <a:lnTo>
                    <a:pt x="64293" y="11906"/>
                  </a:lnTo>
                  <a:lnTo>
                    <a:pt x="102393" y="33337"/>
                  </a:lnTo>
                  <a:lnTo>
                    <a:pt x="152400" y="38100"/>
                  </a:lnTo>
                  <a:lnTo>
                    <a:pt x="161925" y="30956"/>
                  </a:lnTo>
                  <a:lnTo>
                    <a:pt x="200025" y="54768"/>
                  </a:lnTo>
                  <a:lnTo>
                    <a:pt x="226218" y="76200"/>
                  </a:lnTo>
                  <a:lnTo>
                    <a:pt x="254793" y="76200"/>
                  </a:lnTo>
                  <a:lnTo>
                    <a:pt x="261937" y="107156"/>
                  </a:lnTo>
                  <a:lnTo>
                    <a:pt x="276225" y="121443"/>
                  </a:lnTo>
                  <a:lnTo>
                    <a:pt x="316706" y="119062"/>
                  </a:lnTo>
                  <a:lnTo>
                    <a:pt x="354806" y="119062"/>
                  </a:lnTo>
                  <a:lnTo>
                    <a:pt x="407193" y="140493"/>
                  </a:lnTo>
                  <a:lnTo>
                    <a:pt x="442912" y="150018"/>
                  </a:lnTo>
                  <a:lnTo>
                    <a:pt x="492918" y="145256"/>
                  </a:lnTo>
                  <a:lnTo>
                    <a:pt x="538163" y="185737"/>
                  </a:lnTo>
                  <a:lnTo>
                    <a:pt x="545306" y="211931"/>
                  </a:lnTo>
                  <a:lnTo>
                    <a:pt x="583406" y="214312"/>
                  </a:lnTo>
                  <a:lnTo>
                    <a:pt x="585787" y="259556"/>
                  </a:lnTo>
                  <a:lnTo>
                    <a:pt x="642937" y="252412"/>
                  </a:lnTo>
                  <a:lnTo>
                    <a:pt x="673894" y="257175"/>
                  </a:lnTo>
                </a:path>
              </a:pathLst>
            </a:cu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8" name="Isosceles Triangle 279"/>
            <p:cNvSpPr/>
            <p:nvPr/>
          </p:nvSpPr>
          <p:spPr>
            <a:xfrm>
              <a:off x="1538584" y="4393461"/>
              <a:ext cx="229235" cy="193363"/>
            </a:xfrm>
            <a:prstGeom prst="triangle">
              <a:avLst/>
            </a:prstGeom>
            <a:solidFill>
              <a:srgbClr val="F79646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kern="0" dirty="0">
                  <a:solidFill>
                    <a:prstClr val="white"/>
                  </a:solidFill>
                  <a:latin typeface="Calibri"/>
                </a:rPr>
                <a:t>3</a:t>
              </a:r>
            </a:p>
          </p:txBody>
        </p:sp>
        <p:sp>
          <p:nvSpPr>
            <p:cNvPr id="49" name="Freeform 8"/>
            <p:cNvSpPr/>
            <p:nvPr/>
          </p:nvSpPr>
          <p:spPr>
            <a:xfrm>
              <a:off x="1841583" y="4657023"/>
              <a:ext cx="2374900" cy="1657351"/>
            </a:xfrm>
            <a:custGeom>
              <a:avLst/>
              <a:gdLst>
                <a:gd name="connsiteX0" fmla="*/ 33338 w 1781175"/>
                <a:gd name="connsiteY0" fmla="*/ 0 h 1219200"/>
                <a:gd name="connsiteX1" fmla="*/ 69056 w 1781175"/>
                <a:gd name="connsiteY1" fmla="*/ 52388 h 1219200"/>
                <a:gd name="connsiteX2" fmla="*/ 73819 w 1781175"/>
                <a:gd name="connsiteY2" fmla="*/ 83344 h 1219200"/>
                <a:gd name="connsiteX3" fmla="*/ 73819 w 1781175"/>
                <a:gd name="connsiteY3" fmla="*/ 130969 h 1219200"/>
                <a:gd name="connsiteX4" fmla="*/ 73819 w 1781175"/>
                <a:gd name="connsiteY4" fmla="*/ 157163 h 1219200"/>
                <a:gd name="connsiteX5" fmla="*/ 52388 w 1781175"/>
                <a:gd name="connsiteY5" fmla="*/ 188119 h 1219200"/>
                <a:gd name="connsiteX6" fmla="*/ 42863 w 1781175"/>
                <a:gd name="connsiteY6" fmla="*/ 214313 h 1219200"/>
                <a:gd name="connsiteX7" fmla="*/ 69056 w 1781175"/>
                <a:gd name="connsiteY7" fmla="*/ 240507 h 1219200"/>
                <a:gd name="connsiteX8" fmla="*/ 85725 w 1781175"/>
                <a:gd name="connsiteY8" fmla="*/ 278607 h 1219200"/>
                <a:gd name="connsiteX9" fmla="*/ 97631 w 1781175"/>
                <a:gd name="connsiteY9" fmla="*/ 307182 h 1219200"/>
                <a:gd name="connsiteX10" fmla="*/ 111919 w 1781175"/>
                <a:gd name="connsiteY10" fmla="*/ 342900 h 1219200"/>
                <a:gd name="connsiteX11" fmla="*/ 135731 w 1781175"/>
                <a:gd name="connsiteY11" fmla="*/ 347663 h 1219200"/>
                <a:gd name="connsiteX12" fmla="*/ 178594 w 1781175"/>
                <a:gd name="connsiteY12" fmla="*/ 369094 h 1219200"/>
                <a:gd name="connsiteX13" fmla="*/ 200025 w 1781175"/>
                <a:gd name="connsiteY13" fmla="*/ 397669 h 1219200"/>
                <a:gd name="connsiteX14" fmla="*/ 204788 w 1781175"/>
                <a:gd name="connsiteY14" fmla="*/ 435769 h 1219200"/>
                <a:gd name="connsiteX15" fmla="*/ 216694 w 1781175"/>
                <a:gd name="connsiteY15" fmla="*/ 478632 h 1219200"/>
                <a:gd name="connsiteX16" fmla="*/ 211931 w 1781175"/>
                <a:gd name="connsiteY16" fmla="*/ 516732 h 1219200"/>
                <a:gd name="connsiteX17" fmla="*/ 200025 w 1781175"/>
                <a:gd name="connsiteY17" fmla="*/ 540544 h 1219200"/>
                <a:gd name="connsiteX18" fmla="*/ 188119 w 1781175"/>
                <a:gd name="connsiteY18" fmla="*/ 561975 h 1219200"/>
                <a:gd name="connsiteX19" fmla="*/ 157163 w 1781175"/>
                <a:gd name="connsiteY19" fmla="*/ 571500 h 1219200"/>
                <a:gd name="connsiteX20" fmla="*/ 128588 w 1781175"/>
                <a:gd name="connsiteY20" fmla="*/ 561975 h 1219200"/>
                <a:gd name="connsiteX21" fmla="*/ 88106 w 1781175"/>
                <a:gd name="connsiteY21" fmla="*/ 554832 h 1219200"/>
                <a:gd name="connsiteX22" fmla="*/ 80963 w 1781175"/>
                <a:gd name="connsiteY22" fmla="*/ 571500 h 1219200"/>
                <a:gd name="connsiteX23" fmla="*/ 61913 w 1781175"/>
                <a:gd name="connsiteY23" fmla="*/ 588169 h 1219200"/>
                <a:gd name="connsiteX24" fmla="*/ 50006 w 1781175"/>
                <a:gd name="connsiteY24" fmla="*/ 614363 h 1219200"/>
                <a:gd name="connsiteX25" fmla="*/ 59531 w 1781175"/>
                <a:gd name="connsiteY25" fmla="*/ 640557 h 1219200"/>
                <a:gd name="connsiteX26" fmla="*/ 78581 w 1781175"/>
                <a:gd name="connsiteY26" fmla="*/ 661988 h 1219200"/>
                <a:gd name="connsiteX27" fmla="*/ 76200 w 1781175"/>
                <a:gd name="connsiteY27" fmla="*/ 704850 h 1219200"/>
                <a:gd name="connsiteX28" fmla="*/ 47625 w 1781175"/>
                <a:gd name="connsiteY28" fmla="*/ 735807 h 1219200"/>
                <a:gd name="connsiteX29" fmla="*/ 47625 w 1781175"/>
                <a:gd name="connsiteY29" fmla="*/ 766763 h 1219200"/>
                <a:gd name="connsiteX30" fmla="*/ 0 w 1781175"/>
                <a:gd name="connsiteY30" fmla="*/ 797719 h 1219200"/>
                <a:gd name="connsiteX31" fmla="*/ 0 w 1781175"/>
                <a:gd name="connsiteY31" fmla="*/ 797719 h 1219200"/>
                <a:gd name="connsiteX32" fmla="*/ 52388 w 1781175"/>
                <a:gd name="connsiteY32" fmla="*/ 828675 h 1219200"/>
                <a:gd name="connsiteX33" fmla="*/ 61913 w 1781175"/>
                <a:gd name="connsiteY33" fmla="*/ 852488 h 1219200"/>
                <a:gd name="connsiteX34" fmla="*/ 78581 w 1781175"/>
                <a:gd name="connsiteY34" fmla="*/ 900113 h 1219200"/>
                <a:gd name="connsiteX35" fmla="*/ 69056 w 1781175"/>
                <a:gd name="connsiteY35" fmla="*/ 921544 h 1219200"/>
                <a:gd name="connsiteX36" fmla="*/ 69056 w 1781175"/>
                <a:gd name="connsiteY36" fmla="*/ 923925 h 1219200"/>
                <a:gd name="connsiteX37" fmla="*/ 104775 w 1781175"/>
                <a:gd name="connsiteY37" fmla="*/ 940594 h 1219200"/>
                <a:gd name="connsiteX38" fmla="*/ 135731 w 1781175"/>
                <a:gd name="connsiteY38" fmla="*/ 933450 h 1219200"/>
                <a:gd name="connsiteX39" fmla="*/ 164306 w 1781175"/>
                <a:gd name="connsiteY39" fmla="*/ 926307 h 1219200"/>
                <a:gd name="connsiteX40" fmla="*/ 188119 w 1781175"/>
                <a:gd name="connsiteY40" fmla="*/ 950119 h 1219200"/>
                <a:gd name="connsiteX41" fmla="*/ 216694 w 1781175"/>
                <a:gd name="connsiteY41" fmla="*/ 976313 h 1219200"/>
                <a:gd name="connsiteX42" fmla="*/ 252413 w 1781175"/>
                <a:gd name="connsiteY42" fmla="*/ 1000125 h 1219200"/>
                <a:gd name="connsiteX43" fmla="*/ 283369 w 1781175"/>
                <a:gd name="connsiteY43" fmla="*/ 1033463 h 1219200"/>
                <a:gd name="connsiteX44" fmla="*/ 295275 w 1781175"/>
                <a:gd name="connsiteY44" fmla="*/ 1045369 h 1219200"/>
                <a:gd name="connsiteX45" fmla="*/ 330994 w 1781175"/>
                <a:gd name="connsiteY45" fmla="*/ 1038225 h 1219200"/>
                <a:gd name="connsiteX46" fmla="*/ 350044 w 1781175"/>
                <a:gd name="connsiteY46" fmla="*/ 1031082 h 1219200"/>
                <a:gd name="connsiteX47" fmla="*/ 390525 w 1781175"/>
                <a:gd name="connsiteY47" fmla="*/ 1012032 h 1219200"/>
                <a:gd name="connsiteX48" fmla="*/ 409575 w 1781175"/>
                <a:gd name="connsiteY48" fmla="*/ 1021557 h 1219200"/>
                <a:gd name="connsiteX49" fmla="*/ 409575 w 1781175"/>
                <a:gd name="connsiteY49" fmla="*/ 1021557 h 1219200"/>
                <a:gd name="connsiteX50" fmla="*/ 433388 w 1781175"/>
                <a:gd name="connsiteY50" fmla="*/ 1014413 h 1219200"/>
                <a:gd name="connsiteX51" fmla="*/ 466725 w 1781175"/>
                <a:gd name="connsiteY51" fmla="*/ 1004888 h 1219200"/>
                <a:gd name="connsiteX52" fmla="*/ 504825 w 1781175"/>
                <a:gd name="connsiteY52" fmla="*/ 988219 h 1219200"/>
                <a:gd name="connsiteX53" fmla="*/ 533400 w 1781175"/>
                <a:gd name="connsiteY53" fmla="*/ 978694 h 1219200"/>
                <a:gd name="connsiteX54" fmla="*/ 590550 w 1781175"/>
                <a:gd name="connsiteY54" fmla="*/ 931069 h 1219200"/>
                <a:gd name="connsiteX55" fmla="*/ 604838 w 1781175"/>
                <a:gd name="connsiteY55" fmla="*/ 952500 h 1219200"/>
                <a:gd name="connsiteX56" fmla="*/ 600075 w 1781175"/>
                <a:gd name="connsiteY56" fmla="*/ 1038225 h 1219200"/>
                <a:gd name="connsiteX57" fmla="*/ 619125 w 1781175"/>
                <a:gd name="connsiteY57" fmla="*/ 1097757 h 1219200"/>
                <a:gd name="connsiteX58" fmla="*/ 707231 w 1781175"/>
                <a:gd name="connsiteY58" fmla="*/ 1123950 h 1219200"/>
                <a:gd name="connsiteX59" fmla="*/ 773906 w 1781175"/>
                <a:gd name="connsiteY59" fmla="*/ 1152525 h 1219200"/>
                <a:gd name="connsiteX60" fmla="*/ 835819 w 1781175"/>
                <a:gd name="connsiteY60" fmla="*/ 1173957 h 1219200"/>
                <a:gd name="connsiteX61" fmla="*/ 878681 w 1781175"/>
                <a:gd name="connsiteY61" fmla="*/ 1178719 h 1219200"/>
                <a:gd name="connsiteX62" fmla="*/ 919163 w 1781175"/>
                <a:gd name="connsiteY62" fmla="*/ 1195388 h 1219200"/>
                <a:gd name="connsiteX63" fmla="*/ 957263 w 1781175"/>
                <a:gd name="connsiteY63" fmla="*/ 1219200 h 1219200"/>
                <a:gd name="connsiteX64" fmla="*/ 973931 w 1781175"/>
                <a:gd name="connsiteY64" fmla="*/ 1219200 h 1219200"/>
                <a:gd name="connsiteX65" fmla="*/ 1035844 w 1781175"/>
                <a:gd name="connsiteY65" fmla="*/ 1181100 h 1219200"/>
                <a:gd name="connsiteX66" fmla="*/ 1095375 w 1781175"/>
                <a:gd name="connsiteY66" fmla="*/ 1176338 h 1219200"/>
                <a:gd name="connsiteX67" fmla="*/ 1140619 w 1781175"/>
                <a:gd name="connsiteY67" fmla="*/ 1204913 h 1219200"/>
                <a:gd name="connsiteX68" fmla="*/ 1169194 w 1781175"/>
                <a:gd name="connsiteY68" fmla="*/ 1204913 h 1219200"/>
                <a:gd name="connsiteX69" fmla="*/ 1278731 w 1781175"/>
                <a:gd name="connsiteY69" fmla="*/ 1202532 h 1219200"/>
                <a:gd name="connsiteX70" fmla="*/ 1314450 w 1781175"/>
                <a:gd name="connsiteY70" fmla="*/ 1190625 h 1219200"/>
                <a:gd name="connsiteX71" fmla="*/ 1354931 w 1781175"/>
                <a:gd name="connsiteY71" fmla="*/ 1169194 h 1219200"/>
                <a:gd name="connsiteX72" fmla="*/ 1459706 w 1781175"/>
                <a:gd name="connsiteY72" fmla="*/ 1152525 h 1219200"/>
                <a:gd name="connsiteX73" fmla="*/ 1485900 w 1781175"/>
                <a:gd name="connsiteY73" fmla="*/ 1164432 h 1219200"/>
                <a:gd name="connsiteX74" fmla="*/ 1504950 w 1781175"/>
                <a:gd name="connsiteY74" fmla="*/ 1140619 h 1219200"/>
                <a:gd name="connsiteX75" fmla="*/ 1521619 w 1781175"/>
                <a:gd name="connsiteY75" fmla="*/ 1133475 h 1219200"/>
                <a:gd name="connsiteX76" fmla="*/ 1626394 w 1781175"/>
                <a:gd name="connsiteY76" fmla="*/ 1131094 h 1219200"/>
                <a:gd name="connsiteX77" fmla="*/ 1666875 w 1781175"/>
                <a:gd name="connsiteY77" fmla="*/ 1085850 h 1219200"/>
                <a:gd name="connsiteX78" fmla="*/ 1693069 w 1781175"/>
                <a:gd name="connsiteY78" fmla="*/ 1040607 h 1219200"/>
                <a:gd name="connsiteX79" fmla="*/ 1716881 w 1781175"/>
                <a:gd name="connsiteY79" fmla="*/ 1012032 h 1219200"/>
                <a:gd name="connsiteX80" fmla="*/ 1745456 w 1781175"/>
                <a:gd name="connsiteY80" fmla="*/ 990600 h 1219200"/>
                <a:gd name="connsiteX81" fmla="*/ 1733550 w 1781175"/>
                <a:gd name="connsiteY81" fmla="*/ 964407 h 1219200"/>
                <a:gd name="connsiteX82" fmla="*/ 1781175 w 1781175"/>
                <a:gd name="connsiteY82" fmla="*/ 938213 h 1219200"/>
                <a:gd name="connsiteX83" fmla="*/ 1781175 w 1781175"/>
                <a:gd name="connsiteY83" fmla="*/ 902494 h 1219200"/>
                <a:gd name="connsiteX84" fmla="*/ 1781175 w 1781175"/>
                <a:gd name="connsiteY84" fmla="*/ 895350 h 1219200"/>
                <a:gd name="connsiteX0" fmla="*/ 23813 w 1781175"/>
                <a:gd name="connsiteY0" fmla="*/ 0 h 1243013"/>
                <a:gd name="connsiteX1" fmla="*/ 69056 w 1781175"/>
                <a:gd name="connsiteY1" fmla="*/ 76201 h 1243013"/>
                <a:gd name="connsiteX2" fmla="*/ 73819 w 1781175"/>
                <a:gd name="connsiteY2" fmla="*/ 107157 h 1243013"/>
                <a:gd name="connsiteX3" fmla="*/ 73819 w 1781175"/>
                <a:gd name="connsiteY3" fmla="*/ 154782 h 1243013"/>
                <a:gd name="connsiteX4" fmla="*/ 73819 w 1781175"/>
                <a:gd name="connsiteY4" fmla="*/ 180976 h 1243013"/>
                <a:gd name="connsiteX5" fmla="*/ 52388 w 1781175"/>
                <a:gd name="connsiteY5" fmla="*/ 211932 h 1243013"/>
                <a:gd name="connsiteX6" fmla="*/ 42863 w 1781175"/>
                <a:gd name="connsiteY6" fmla="*/ 238126 h 1243013"/>
                <a:gd name="connsiteX7" fmla="*/ 69056 w 1781175"/>
                <a:gd name="connsiteY7" fmla="*/ 264320 h 1243013"/>
                <a:gd name="connsiteX8" fmla="*/ 85725 w 1781175"/>
                <a:gd name="connsiteY8" fmla="*/ 302420 h 1243013"/>
                <a:gd name="connsiteX9" fmla="*/ 97631 w 1781175"/>
                <a:gd name="connsiteY9" fmla="*/ 330995 h 1243013"/>
                <a:gd name="connsiteX10" fmla="*/ 111919 w 1781175"/>
                <a:gd name="connsiteY10" fmla="*/ 366713 h 1243013"/>
                <a:gd name="connsiteX11" fmla="*/ 135731 w 1781175"/>
                <a:gd name="connsiteY11" fmla="*/ 371476 h 1243013"/>
                <a:gd name="connsiteX12" fmla="*/ 178594 w 1781175"/>
                <a:gd name="connsiteY12" fmla="*/ 392907 h 1243013"/>
                <a:gd name="connsiteX13" fmla="*/ 200025 w 1781175"/>
                <a:gd name="connsiteY13" fmla="*/ 421482 h 1243013"/>
                <a:gd name="connsiteX14" fmla="*/ 204788 w 1781175"/>
                <a:gd name="connsiteY14" fmla="*/ 459582 h 1243013"/>
                <a:gd name="connsiteX15" fmla="*/ 216694 w 1781175"/>
                <a:gd name="connsiteY15" fmla="*/ 502445 h 1243013"/>
                <a:gd name="connsiteX16" fmla="*/ 211931 w 1781175"/>
                <a:gd name="connsiteY16" fmla="*/ 540545 h 1243013"/>
                <a:gd name="connsiteX17" fmla="*/ 200025 w 1781175"/>
                <a:gd name="connsiteY17" fmla="*/ 564357 h 1243013"/>
                <a:gd name="connsiteX18" fmla="*/ 188119 w 1781175"/>
                <a:gd name="connsiteY18" fmla="*/ 585788 h 1243013"/>
                <a:gd name="connsiteX19" fmla="*/ 157163 w 1781175"/>
                <a:gd name="connsiteY19" fmla="*/ 595313 h 1243013"/>
                <a:gd name="connsiteX20" fmla="*/ 128588 w 1781175"/>
                <a:gd name="connsiteY20" fmla="*/ 585788 h 1243013"/>
                <a:gd name="connsiteX21" fmla="*/ 88106 w 1781175"/>
                <a:gd name="connsiteY21" fmla="*/ 578645 h 1243013"/>
                <a:gd name="connsiteX22" fmla="*/ 80963 w 1781175"/>
                <a:gd name="connsiteY22" fmla="*/ 595313 h 1243013"/>
                <a:gd name="connsiteX23" fmla="*/ 61913 w 1781175"/>
                <a:gd name="connsiteY23" fmla="*/ 611982 h 1243013"/>
                <a:gd name="connsiteX24" fmla="*/ 50006 w 1781175"/>
                <a:gd name="connsiteY24" fmla="*/ 638176 h 1243013"/>
                <a:gd name="connsiteX25" fmla="*/ 59531 w 1781175"/>
                <a:gd name="connsiteY25" fmla="*/ 664370 h 1243013"/>
                <a:gd name="connsiteX26" fmla="*/ 78581 w 1781175"/>
                <a:gd name="connsiteY26" fmla="*/ 685801 h 1243013"/>
                <a:gd name="connsiteX27" fmla="*/ 76200 w 1781175"/>
                <a:gd name="connsiteY27" fmla="*/ 728663 h 1243013"/>
                <a:gd name="connsiteX28" fmla="*/ 47625 w 1781175"/>
                <a:gd name="connsiteY28" fmla="*/ 759620 h 1243013"/>
                <a:gd name="connsiteX29" fmla="*/ 47625 w 1781175"/>
                <a:gd name="connsiteY29" fmla="*/ 790576 h 1243013"/>
                <a:gd name="connsiteX30" fmla="*/ 0 w 1781175"/>
                <a:gd name="connsiteY30" fmla="*/ 821532 h 1243013"/>
                <a:gd name="connsiteX31" fmla="*/ 0 w 1781175"/>
                <a:gd name="connsiteY31" fmla="*/ 821532 h 1243013"/>
                <a:gd name="connsiteX32" fmla="*/ 52388 w 1781175"/>
                <a:gd name="connsiteY32" fmla="*/ 852488 h 1243013"/>
                <a:gd name="connsiteX33" fmla="*/ 61913 w 1781175"/>
                <a:gd name="connsiteY33" fmla="*/ 876301 h 1243013"/>
                <a:gd name="connsiteX34" fmla="*/ 78581 w 1781175"/>
                <a:gd name="connsiteY34" fmla="*/ 923926 h 1243013"/>
                <a:gd name="connsiteX35" fmla="*/ 69056 w 1781175"/>
                <a:gd name="connsiteY35" fmla="*/ 945357 h 1243013"/>
                <a:gd name="connsiteX36" fmla="*/ 69056 w 1781175"/>
                <a:gd name="connsiteY36" fmla="*/ 947738 h 1243013"/>
                <a:gd name="connsiteX37" fmla="*/ 104775 w 1781175"/>
                <a:gd name="connsiteY37" fmla="*/ 964407 h 1243013"/>
                <a:gd name="connsiteX38" fmla="*/ 135731 w 1781175"/>
                <a:gd name="connsiteY38" fmla="*/ 957263 h 1243013"/>
                <a:gd name="connsiteX39" fmla="*/ 164306 w 1781175"/>
                <a:gd name="connsiteY39" fmla="*/ 950120 h 1243013"/>
                <a:gd name="connsiteX40" fmla="*/ 188119 w 1781175"/>
                <a:gd name="connsiteY40" fmla="*/ 973932 h 1243013"/>
                <a:gd name="connsiteX41" fmla="*/ 216694 w 1781175"/>
                <a:gd name="connsiteY41" fmla="*/ 1000126 h 1243013"/>
                <a:gd name="connsiteX42" fmla="*/ 252413 w 1781175"/>
                <a:gd name="connsiteY42" fmla="*/ 1023938 h 1243013"/>
                <a:gd name="connsiteX43" fmla="*/ 283369 w 1781175"/>
                <a:gd name="connsiteY43" fmla="*/ 1057276 h 1243013"/>
                <a:gd name="connsiteX44" fmla="*/ 295275 w 1781175"/>
                <a:gd name="connsiteY44" fmla="*/ 1069182 h 1243013"/>
                <a:gd name="connsiteX45" fmla="*/ 330994 w 1781175"/>
                <a:gd name="connsiteY45" fmla="*/ 1062038 h 1243013"/>
                <a:gd name="connsiteX46" fmla="*/ 350044 w 1781175"/>
                <a:gd name="connsiteY46" fmla="*/ 1054895 h 1243013"/>
                <a:gd name="connsiteX47" fmla="*/ 390525 w 1781175"/>
                <a:gd name="connsiteY47" fmla="*/ 1035845 h 1243013"/>
                <a:gd name="connsiteX48" fmla="*/ 409575 w 1781175"/>
                <a:gd name="connsiteY48" fmla="*/ 1045370 h 1243013"/>
                <a:gd name="connsiteX49" fmla="*/ 409575 w 1781175"/>
                <a:gd name="connsiteY49" fmla="*/ 1045370 h 1243013"/>
                <a:gd name="connsiteX50" fmla="*/ 433388 w 1781175"/>
                <a:gd name="connsiteY50" fmla="*/ 1038226 h 1243013"/>
                <a:gd name="connsiteX51" fmla="*/ 466725 w 1781175"/>
                <a:gd name="connsiteY51" fmla="*/ 1028701 h 1243013"/>
                <a:gd name="connsiteX52" fmla="*/ 504825 w 1781175"/>
                <a:gd name="connsiteY52" fmla="*/ 1012032 h 1243013"/>
                <a:gd name="connsiteX53" fmla="*/ 533400 w 1781175"/>
                <a:gd name="connsiteY53" fmla="*/ 1002507 h 1243013"/>
                <a:gd name="connsiteX54" fmla="*/ 590550 w 1781175"/>
                <a:gd name="connsiteY54" fmla="*/ 954882 h 1243013"/>
                <a:gd name="connsiteX55" fmla="*/ 604838 w 1781175"/>
                <a:gd name="connsiteY55" fmla="*/ 976313 h 1243013"/>
                <a:gd name="connsiteX56" fmla="*/ 600075 w 1781175"/>
                <a:gd name="connsiteY56" fmla="*/ 1062038 h 1243013"/>
                <a:gd name="connsiteX57" fmla="*/ 619125 w 1781175"/>
                <a:gd name="connsiteY57" fmla="*/ 1121570 h 1243013"/>
                <a:gd name="connsiteX58" fmla="*/ 707231 w 1781175"/>
                <a:gd name="connsiteY58" fmla="*/ 1147763 h 1243013"/>
                <a:gd name="connsiteX59" fmla="*/ 773906 w 1781175"/>
                <a:gd name="connsiteY59" fmla="*/ 1176338 h 1243013"/>
                <a:gd name="connsiteX60" fmla="*/ 835819 w 1781175"/>
                <a:gd name="connsiteY60" fmla="*/ 1197770 h 1243013"/>
                <a:gd name="connsiteX61" fmla="*/ 878681 w 1781175"/>
                <a:gd name="connsiteY61" fmla="*/ 1202532 h 1243013"/>
                <a:gd name="connsiteX62" fmla="*/ 919163 w 1781175"/>
                <a:gd name="connsiteY62" fmla="*/ 1219201 h 1243013"/>
                <a:gd name="connsiteX63" fmla="*/ 957263 w 1781175"/>
                <a:gd name="connsiteY63" fmla="*/ 1243013 h 1243013"/>
                <a:gd name="connsiteX64" fmla="*/ 973931 w 1781175"/>
                <a:gd name="connsiteY64" fmla="*/ 1243013 h 1243013"/>
                <a:gd name="connsiteX65" fmla="*/ 1035844 w 1781175"/>
                <a:gd name="connsiteY65" fmla="*/ 1204913 h 1243013"/>
                <a:gd name="connsiteX66" fmla="*/ 1095375 w 1781175"/>
                <a:gd name="connsiteY66" fmla="*/ 1200151 h 1243013"/>
                <a:gd name="connsiteX67" fmla="*/ 1140619 w 1781175"/>
                <a:gd name="connsiteY67" fmla="*/ 1228726 h 1243013"/>
                <a:gd name="connsiteX68" fmla="*/ 1169194 w 1781175"/>
                <a:gd name="connsiteY68" fmla="*/ 1228726 h 1243013"/>
                <a:gd name="connsiteX69" fmla="*/ 1278731 w 1781175"/>
                <a:gd name="connsiteY69" fmla="*/ 1226345 h 1243013"/>
                <a:gd name="connsiteX70" fmla="*/ 1314450 w 1781175"/>
                <a:gd name="connsiteY70" fmla="*/ 1214438 h 1243013"/>
                <a:gd name="connsiteX71" fmla="*/ 1354931 w 1781175"/>
                <a:gd name="connsiteY71" fmla="*/ 1193007 h 1243013"/>
                <a:gd name="connsiteX72" fmla="*/ 1459706 w 1781175"/>
                <a:gd name="connsiteY72" fmla="*/ 1176338 h 1243013"/>
                <a:gd name="connsiteX73" fmla="*/ 1485900 w 1781175"/>
                <a:gd name="connsiteY73" fmla="*/ 1188245 h 1243013"/>
                <a:gd name="connsiteX74" fmla="*/ 1504950 w 1781175"/>
                <a:gd name="connsiteY74" fmla="*/ 1164432 h 1243013"/>
                <a:gd name="connsiteX75" fmla="*/ 1521619 w 1781175"/>
                <a:gd name="connsiteY75" fmla="*/ 1157288 h 1243013"/>
                <a:gd name="connsiteX76" fmla="*/ 1626394 w 1781175"/>
                <a:gd name="connsiteY76" fmla="*/ 1154907 h 1243013"/>
                <a:gd name="connsiteX77" fmla="*/ 1666875 w 1781175"/>
                <a:gd name="connsiteY77" fmla="*/ 1109663 h 1243013"/>
                <a:gd name="connsiteX78" fmla="*/ 1693069 w 1781175"/>
                <a:gd name="connsiteY78" fmla="*/ 1064420 h 1243013"/>
                <a:gd name="connsiteX79" fmla="*/ 1716881 w 1781175"/>
                <a:gd name="connsiteY79" fmla="*/ 1035845 h 1243013"/>
                <a:gd name="connsiteX80" fmla="*/ 1745456 w 1781175"/>
                <a:gd name="connsiteY80" fmla="*/ 1014413 h 1243013"/>
                <a:gd name="connsiteX81" fmla="*/ 1733550 w 1781175"/>
                <a:gd name="connsiteY81" fmla="*/ 988220 h 1243013"/>
                <a:gd name="connsiteX82" fmla="*/ 1781175 w 1781175"/>
                <a:gd name="connsiteY82" fmla="*/ 962026 h 1243013"/>
                <a:gd name="connsiteX83" fmla="*/ 1781175 w 1781175"/>
                <a:gd name="connsiteY83" fmla="*/ 926307 h 1243013"/>
                <a:gd name="connsiteX84" fmla="*/ 1781175 w 1781175"/>
                <a:gd name="connsiteY84" fmla="*/ 919163 h 1243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1781175" h="1243013">
                  <a:moveTo>
                    <a:pt x="23813" y="0"/>
                  </a:moveTo>
                  <a:lnTo>
                    <a:pt x="69056" y="76201"/>
                  </a:lnTo>
                  <a:lnTo>
                    <a:pt x="73819" y="107157"/>
                  </a:lnTo>
                  <a:lnTo>
                    <a:pt x="73819" y="154782"/>
                  </a:lnTo>
                  <a:lnTo>
                    <a:pt x="73819" y="180976"/>
                  </a:lnTo>
                  <a:lnTo>
                    <a:pt x="52388" y="211932"/>
                  </a:lnTo>
                  <a:lnTo>
                    <a:pt x="42863" y="238126"/>
                  </a:lnTo>
                  <a:lnTo>
                    <a:pt x="69056" y="264320"/>
                  </a:lnTo>
                  <a:lnTo>
                    <a:pt x="85725" y="302420"/>
                  </a:lnTo>
                  <a:lnTo>
                    <a:pt x="97631" y="330995"/>
                  </a:lnTo>
                  <a:lnTo>
                    <a:pt x="111919" y="366713"/>
                  </a:lnTo>
                  <a:lnTo>
                    <a:pt x="135731" y="371476"/>
                  </a:lnTo>
                  <a:lnTo>
                    <a:pt x="178594" y="392907"/>
                  </a:lnTo>
                  <a:lnTo>
                    <a:pt x="200025" y="421482"/>
                  </a:lnTo>
                  <a:lnTo>
                    <a:pt x="204788" y="459582"/>
                  </a:lnTo>
                  <a:lnTo>
                    <a:pt x="216694" y="502445"/>
                  </a:lnTo>
                  <a:lnTo>
                    <a:pt x="211931" y="540545"/>
                  </a:lnTo>
                  <a:lnTo>
                    <a:pt x="200025" y="564357"/>
                  </a:lnTo>
                  <a:lnTo>
                    <a:pt x="188119" y="585788"/>
                  </a:lnTo>
                  <a:lnTo>
                    <a:pt x="157163" y="595313"/>
                  </a:lnTo>
                  <a:lnTo>
                    <a:pt x="128588" y="585788"/>
                  </a:lnTo>
                  <a:lnTo>
                    <a:pt x="88106" y="578645"/>
                  </a:lnTo>
                  <a:lnTo>
                    <a:pt x="80963" y="595313"/>
                  </a:lnTo>
                  <a:lnTo>
                    <a:pt x="61913" y="611982"/>
                  </a:lnTo>
                  <a:lnTo>
                    <a:pt x="50006" y="638176"/>
                  </a:lnTo>
                  <a:lnTo>
                    <a:pt x="59531" y="664370"/>
                  </a:lnTo>
                  <a:lnTo>
                    <a:pt x="78581" y="685801"/>
                  </a:lnTo>
                  <a:lnTo>
                    <a:pt x="76200" y="728663"/>
                  </a:lnTo>
                  <a:lnTo>
                    <a:pt x="47625" y="759620"/>
                  </a:lnTo>
                  <a:lnTo>
                    <a:pt x="47625" y="790576"/>
                  </a:lnTo>
                  <a:lnTo>
                    <a:pt x="0" y="821532"/>
                  </a:lnTo>
                  <a:lnTo>
                    <a:pt x="0" y="821532"/>
                  </a:lnTo>
                  <a:lnTo>
                    <a:pt x="52388" y="852488"/>
                  </a:lnTo>
                  <a:lnTo>
                    <a:pt x="61913" y="876301"/>
                  </a:lnTo>
                  <a:lnTo>
                    <a:pt x="78581" y="923926"/>
                  </a:lnTo>
                  <a:cubicBezTo>
                    <a:pt x="68701" y="943686"/>
                    <a:pt x="69056" y="935876"/>
                    <a:pt x="69056" y="945357"/>
                  </a:cubicBezTo>
                  <a:lnTo>
                    <a:pt x="69056" y="947738"/>
                  </a:lnTo>
                  <a:lnTo>
                    <a:pt x="104775" y="964407"/>
                  </a:lnTo>
                  <a:lnTo>
                    <a:pt x="135731" y="957263"/>
                  </a:lnTo>
                  <a:lnTo>
                    <a:pt x="164306" y="950120"/>
                  </a:lnTo>
                  <a:lnTo>
                    <a:pt x="188119" y="973932"/>
                  </a:lnTo>
                  <a:lnTo>
                    <a:pt x="216694" y="1000126"/>
                  </a:lnTo>
                  <a:lnTo>
                    <a:pt x="252413" y="1023938"/>
                  </a:lnTo>
                  <a:lnTo>
                    <a:pt x="283369" y="1057276"/>
                  </a:lnTo>
                  <a:lnTo>
                    <a:pt x="295275" y="1069182"/>
                  </a:lnTo>
                  <a:lnTo>
                    <a:pt x="330994" y="1062038"/>
                  </a:lnTo>
                  <a:lnTo>
                    <a:pt x="350044" y="1054895"/>
                  </a:lnTo>
                  <a:lnTo>
                    <a:pt x="390525" y="1035845"/>
                  </a:lnTo>
                  <a:lnTo>
                    <a:pt x="409575" y="1045370"/>
                  </a:lnTo>
                  <a:lnTo>
                    <a:pt x="409575" y="1045370"/>
                  </a:lnTo>
                  <a:cubicBezTo>
                    <a:pt x="432102" y="1040363"/>
                    <a:pt x="425830" y="1045780"/>
                    <a:pt x="433388" y="1038226"/>
                  </a:cubicBezTo>
                  <a:lnTo>
                    <a:pt x="466725" y="1028701"/>
                  </a:lnTo>
                  <a:lnTo>
                    <a:pt x="504825" y="1012032"/>
                  </a:lnTo>
                  <a:lnTo>
                    <a:pt x="533400" y="1002507"/>
                  </a:lnTo>
                  <a:lnTo>
                    <a:pt x="590550" y="954882"/>
                  </a:lnTo>
                  <a:lnTo>
                    <a:pt x="604838" y="976313"/>
                  </a:lnTo>
                  <a:lnTo>
                    <a:pt x="600075" y="1062038"/>
                  </a:lnTo>
                  <a:lnTo>
                    <a:pt x="619125" y="1121570"/>
                  </a:lnTo>
                  <a:lnTo>
                    <a:pt x="707231" y="1147763"/>
                  </a:lnTo>
                  <a:lnTo>
                    <a:pt x="773906" y="1176338"/>
                  </a:lnTo>
                  <a:lnTo>
                    <a:pt x="835819" y="1197770"/>
                  </a:lnTo>
                  <a:lnTo>
                    <a:pt x="878681" y="1202532"/>
                  </a:lnTo>
                  <a:lnTo>
                    <a:pt x="919163" y="1219201"/>
                  </a:lnTo>
                  <a:lnTo>
                    <a:pt x="957263" y="1243013"/>
                  </a:lnTo>
                  <a:lnTo>
                    <a:pt x="973931" y="1243013"/>
                  </a:lnTo>
                  <a:lnTo>
                    <a:pt x="1035844" y="1204913"/>
                  </a:lnTo>
                  <a:lnTo>
                    <a:pt x="1095375" y="1200151"/>
                  </a:lnTo>
                  <a:lnTo>
                    <a:pt x="1140619" y="1228726"/>
                  </a:lnTo>
                  <a:lnTo>
                    <a:pt x="1169194" y="1228726"/>
                  </a:lnTo>
                  <a:lnTo>
                    <a:pt x="1278731" y="1226345"/>
                  </a:lnTo>
                  <a:lnTo>
                    <a:pt x="1314450" y="1214438"/>
                  </a:lnTo>
                  <a:lnTo>
                    <a:pt x="1354931" y="1193007"/>
                  </a:lnTo>
                  <a:lnTo>
                    <a:pt x="1459706" y="1176338"/>
                  </a:lnTo>
                  <a:lnTo>
                    <a:pt x="1485900" y="1188245"/>
                  </a:lnTo>
                  <a:lnTo>
                    <a:pt x="1504950" y="1164432"/>
                  </a:lnTo>
                  <a:lnTo>
                    <a:pt x="1521619" y="1157288"/>
                  </a:lnTo>
                  <a:lnTo>
                    <a:pt x="1626394" y="1154907"/>
                  </a:lnTo>
                  <a:lnTo>
                    <a:pt x="1666875" y="1109663"/>
                  </a:lnTo>
                  <a:lnTo>
                    <a:pt x="1693069" y="1064420"/>
                  </a:lnTo>
                  <a:lnTo>
                    <a:pt x="1716881" y="1035845"/>
                  </a:lnTo>
                  <a:lnTo>
                    <a:pt x="1745456" y="1014413"/>
                  </a:lnTo>
                  <a:lnTo>
                    <a:pt x="1733550" y="988220"/>
                  </a:lnTo>
                  <a:lnTo>
                    <a:pt x="1781175" y="962026"/>
                  </a:lnTo>
                  <a:lnTo>
                    <a:pt x="1781175" y="926307"/>
                  </a:lnTo>
                  <a:lnTo>
                    <a:pt x="1781175" y="919163"/>
                  </a:lnTo>
                </a:path>
              </a:pathLst>
            </a:custGeom>
            <a:noFill/>
            <a:ln w="25400" cap="flat" cmpd="sng" algn="ctr">
              <a:solidFill>
                <a:srgbClr val="7030A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09585"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50" name="Picture 250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22941" y="6053545"/>
              <a:ext cx="239324" cy="244697"/>
            </a:xfrm>
            <a:prstGeom prst="rect">
              <a:avLst/>
            </a:prstGeom>
            <a:noFill/>
          </p:spPr>
        </p:pic>
        <p:sp>
          <p:nvSpPr>
            <p:cNvPr id="51" name="Flowchart: Decision 210"/>
            <p:cNvSpPr/>
            <p:nvPr/>
          </p:nvSpPr>
          <p:spPr>
            <a:xfrm>
              <a:off x="2617329" y="5993067"/>
              <a:ext cx="198036" cy="197988"/>
            </a:xfrm>
            <a:prstGeom prst="flowChartDecision">
              <a:avLst/>
            </a:prstGeom>
            <a:solidFill>
              <a:srgbClr val="FFFF00"/>
            </a:solidFill>
            <a:ln w="635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b="1" kern="0" dirty="0">
                  <a:solidFill>
                    <a:prstClr val="black"/>
                  </a:solidFill>
                  <a:latin typeface="Calibri"/>
                </a:rPr>
                <a:t>3</a:t>
              </a:r>
            </a:p>
          </p:txBody>
        </p:sp>
        <p:sp>
          <p:nvSpPr>
            <p:cNvPr id="52" name="Flowchart: Decision 212"/>
            <p:cNvSpPr/>
            <p:nvPr/>
          </p:nvSpPr>
          <p:spPr>
            <a:xfrm>
              <a:off x="2036307" y="5995959"/>
              <a:ext cx="198036" cy="197988"/>
            </a:xfrm>
            <a:prstGeom prst="flowChartDecision">
              <a:avLst/>
            </a:prstGeom>
            <a:solidFill>
              <a:srgbClr val="FFFF00"/>
            </a:solidFill>
            <a:ln w="635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b="1" kern="0" dirty="0">
                  <a:solidFill>
                    <a:prstClr val="black"/>
                  </a:solidFill>
                  <a:latin typeface="Calibri"/>
                </a:rPr>
                <a:t>2</a:t>
              </a:r>
            </a:p>
          </p:txBody>
        </p:sp>
        <p:sp>
          <p:nvSpPr>
            <p:cNvPr id="53" name="Freeform 9"/>
            <p:cNvSpPr/>
            <p:nvPr/>
          </p:nvSpPr>
          <p:spPr>
            <a:xfrm>
              <a:off x="1847933" y="2869500"/>
              <a:ext cx="3073400" cy="1727200"/>
            </a:xfrm>
            <a:custGeom>
              <a:avLst/>
              <a:gdLst>
                <a:gd name="connsiteX0" fmla="*/ 2381 w 2305050"/>
                <a:gd name="connsiteY0" fmla="*/ 1295400 h 1295400"/>
                <a:gd name="connsiteX1" fmla="*/ 0 w 2305050"/>
                <a:gd name="connsiteY1" fmla="*/ 1250156 h 1295400"/>
                <a:gd name="connsiteX2" fmla="*/ 35718 w 2305050"/>
                <a:gd name="connsiteY2" fmla="*/ 1221581 h 1295400"/>
                <a:gd name="connsiteX3" fmla="*/ 69056 w 2305050"/>
                <a:gd name="connsiteY3" fmla="*/ 1178719 h 1295400"/>
                <a:gd name="connsiteX4" fmla="*/ 85725 w 2305050"/>
                <a:gd name="connsiteY4" fmla="*/ 1154906 h 1295400"/>
                <a:gd name="connsiteX5" fmla="*/ 130968 w 2305050"/>
                <a:gd name="connsiteY5" fmla="*/ 1133475 h 1295400"/>
                <a:gd name="connsiteX6" fmla="*/ 126206 w 2305050"/>
                <a:gd name="connsiteY6" fmla="*/ 1076325 h 1295400"/>
                <a:gd name="connsiteX7" fmla="*/ 138112 w 2305050"/>
                <a:gd name="connsiteY7" fmla="*/ 1026319 h 1295400"/>
                <a:gd name="connsiteX8" fmla="*/ 159543 w 2305050"/>
                <a:gd name="connsiteY8" fmla="*/ 973931 h 1295400"/>
                <a:gd name="connsiteX9" fmla="*/ 219075 w 2305050"/>
                <a:gd name="connsiteY9" fmla="*/ 985838 h 1295400"/>
                <a:gd name="connsiteX10" fmla="*/ 240506 w 2305050"/>
                <a:gd name="connsiteY10" fmla="*/ 995363 h 1295400"/>
                <a:gd name="connsiteX11" fmla="*/ 297656 w 2305050"/>
                <a:gd name="connsiteY11" fmla="*/ 954881 h 1295400"/>
                <a:gd name="connsiteX12" fmla="*/ 304800 w 2305050"/>
                <a:gd name="connsiteY12" fmla="*/ 950119 h 1295400"/>
                <a:gd name="connsiteX13" fmla="*/ 347662 w 2305050"/>
                <a:gd name="connsiteY13" fmla="*/ 952500 h 1295400"/>
                <a:gd name="connsiteX14" fmla="*/ 376237 w 2305050"/>
                <a:gd name="connsiteY14" fmla="*/ 945356 h 1295400"/>
                <a:gd name="connsiteX15" fmla="*/ 354806 w 2305050"/>
                <a:gd name="connsiteY15" fmla="*/ 912019 h 1295400"/>
                <a:gd name="connsiteX16" fmla="*/ 369093 w 2305050"/>
                <a:gd name="connsiteY16" fmla="*/ 890588 h 1295400"/>
                <a:gd name="connsiteX17" fmla="*/ 416718 w 2305050"/>
                <a:gd name="connsiteY17" fmla="*/ 831056 h 1295400"/>
                <a:gd name="connsiteX18" fmla="*/ 454818 w 2305050"/>
                <a:gd name="connsiteY18" fmla="*/ 776288 h 1295400"/>
                <a:gd name="connsiteX19" fmla="*/ 502443 w 2305050"/>
                <a:gd name="connsiteY19" fmla="*/ 764381 h 1295400"/>
                <a:gd name="connsiteX20" fmla="*/ 511968 w 2305050"/>
                <a:gd name="connsiteY20" fmla="*/ 735806 h 1295400"/>
                <a:gd name="connsiteX21" fmla="*/ 511968 w 2305050"/>
                <a:gd name="connsiteY21" fmla="*/ 735806 h 1295400"/>
                <a:gd name="connsiteX22" fmla="*/ 535781 w 2305050"/>
                <a:gd name="connsiteY22" fmla="*/ 700088 h 1295400"/>
                <a:gd name="connsiteX23" fmla="*/ 545306 w 2305050"/>
                <a:gd name="connsiteY23" fmla="*/ 659606 h 1295400"/>
                <a:gd name="connsiteX24" fmla="*/ 547687 w 2305050"/>
                <a:gd name="connsiteY24" fmla="*/ 631031 h 1295400"/>
                <a:gd name="connsiteX25" fmla="*/ 561975 w 2305050"/>
                <a:gd name="connsiteY25" fmla="*/ 597694 h 1295400"/>
                <a:gd name="connsiteX26" fmla="*/ 566737 w 2305050"/>
                <a:gd name="connsiteY26" fmla="*/ 545306 h 1295400"/>
                <a:gd name="connsiteX27" fmla="*/ 592931 w 2305050"/>
                <a:gd name="connsiteY27" fmla="*/ 500063 h 1295400"/>
                <a:gd name="connsiteX28" fmla="*/ 616743 w 2305050"/>
                <a:gd name="connsiteY28" fmla="*/ 390525 h 1295400"/>
                <a:gd name="connsiteX29" fmla="*/ 671512 w 2305050"/>
                <a:gd name="connsiteY29" fmla="*/ 376238 h 1295400"/>
                <a:gd name="connsiteX30" fmla="*/ 700087 w 2305050"/>
                <a:gd name="connsiteY30" fmla="*/ 381000 h 1295400"/>
                <a:gd name="connsiteX31" fmla="*/ 795337 w 2305050"/>
                <a:gd name="connsiteY31" fmla="*/ 326231 h 1295400"/>
                <a:gd name="connsiteX32" fmla="*/ 821531 w 2305050"/>
                <a:gd name="connsiteY32" fmla="*/ 321469 h 1295400"/>
                <a:gd name="connsiteX33" fmla="*/ 919162 w 2305050"/>
                <a:gd name="connsiteY33" fmla="*/ 295275 h 1295400"/>
                <a:gd name="connsiteX34" fmla="*/ 947737 w 2305050"/>
                <a:gd name="connsiteY34" fmla="*/ 292894 h 1295400"/>
                <a:gd name="connsiteX35" fmla="*/ 1028700 w 2305050"/>
                <a:gd name="connsiteY35" fmla="*/ 200025 h 1295400"/>
                <a:gd name="connsiteX36" fmla="*/ 1028700 w 2305050"/>
                <a:gd name="connsiteY36" fmla="*/ 200025 h 1295400"/>
                <a:gd name="connsiteX37" fmla="*/ 1090612 w 2305050"/>
                <a:gd name="connsiteY37" fmla="*/ 152400 h 1295400"/>
                <a:gd name="connsiteX38" fmla="*/ 1150143 w 2305050"/>
                <a:gd name="connsiteY38" fmla="*/ 133350 h 1295400"/>
                <a:gd name="connsiteX39" fmla="*/ 1197768 w 2305050"/>
                <a:gd name="connsiteY39" fmla="*/ 126206 h 1295400"/>
                <a:gd name="connsiteX40" fmla="*/ 1226343 w 2305050"/>
                <a:gd name="connsiteY40" fmla="*/ 109538 h 1295400"/>
                <a:gd name="connsiteX41" fmla="*/ 1266825 w 2305050"/>
                <a:gd name="connsiteY41" fmla="*/ 119063 h 1295400"/>
                <a:gd name="connsiteX42" fmla="*/ 1259681 w 2305050"/>
                <a:gd name="connsiteY42" fmla="*/ 42863 h 1295400"/>
                <a:gd name="connsiteX43" fmla="*/ 1285875 w 2305050"/>
                <a:gd name="connsiteY43" fmla="*/ 40481 h 1295400"/>
                <a:gd name="connsiteX44" fmla="*/ 1309687 w 2305050"/>
                <a:gd name="connsiteY44" fmla="*/ 2381 h 1295400"/>
                <a:gd name="connsiteX45" fmla="*/ 1333500 w 2305050"/>
                <a:gd name="connsiteY45" fmla="*/ 19050 h 1295400"/>
                <a:gd name="connsiteX46" fmla="*/ 1366837 w 2305050"/>
                <a:gd name="connsiteY46" fmla="*/ 0 h 1295400"/>
                <a:gd name="connsiteX47" fmla="*/ 1388268 w 2305050"/>
                <a:gd name="connsiteY47" fmla="*/ 16669 h 1295400"/>
                <a:gd name="connsiteX48" fmla="*/ 1431131 w 2305050"/>
                <a:gd name="connsiteY48" fmla="*/ 9525 h 1295400"/>
                <a:gd name="connsiteX49" fmla="*/ 1483518 w 2305050"/>
                <a:gd name="connsiteY49" fmla="*/ 23813 h 1295400"/>
                <a:gd name="connsiteX50" fmla="*/ 1533525 w 2305050"/>
                <a:gd name="connsiteY50" fmla="*/ 38100 h 1295400"/>
                <a:gd name="connsiteX51" fmla="*/ 1533525 w 2305050"/>
                <a:gd name="connsiteY51" fmla="*/ 38100 h 1295400"/>
                <a:gd name="connsiteX52" fmla="*/ 1628775 w 2305050"/>
                <a:gd name="connsiteY52" fmla="*/ 40481 h 1295400"/>
                <a:gd name="connsiteX53" fmla="*/ 1676400 w 2305050"/>
                <a:gd name="connsiteY53" fmla="*/ 57150 h 1295400"/>
                <a:gd name="connsiteX54" fmla="*/ 1714500 w 2305050"/>
                <a:gd name="connsiteY54" fmla="*/ 66675 h 1295400"/>
                <a:gd name="connsiteX55" fmla="*/ 1735931 w 2305050"/>
                <a:gd name="connsiteY55" fmla="*/ 95250 h 1295400"/>
                <a:gd name="connsiteX56" fmla="*/ 1788318 w 2305050"/>
                <a:gd name="connsiteY56" fmla="*/ 104775 h 1295400"/>
                <a:gd name="connsiteX57" fmla="*/ 1843087 w 2305050"/>
                <a:gd name="connsiteY57" fmla="*/ 133350 h 1295400"/>
                <a:gd name="connsiteX58" fmla="*/ 1883568 w 2305050"/>
                <a:gd name="connsiteY58" fmla="*/ 128588 h 1295400"/>
                <a:gd name="connsiteX59" fmla="*/ 1926431 w 2305050"/>
                <a:gd name="connsiteY59" fmla="*/ 171450 h 1295400"/>
                <a:gd name="connsiteX60" fmla="*/ 1978818 w 2305050"/>
                <a:gd name="connsiteY60" fmla="*/ 169069 h 1295400"/>
                <a:gd name="connsiteX61" fmla="*/ 2074068 w 2305050"/>
                <a:gd name="connsiteY61" fmla="*/ 238125 h 1295400"/>
                <a:gd name="connsiteX62" fmla="*/ 2109787 w 2305050"/>
                <a:gd name="connsiteY62" fmla="*/ 252413 h 1295400"/>
                <a:gd name="connsiteX63" fmla="*/ 2126456 w 2305050"/>
                <a:gd name="connsiteY63" fmla="*/ 295275 h 1295400"/>
                <a:gd name="connsiteX64" fmla="*/ 2212181 w 2305050"/>
                <a:gd name="connsiteY64" fmla="*/ 388144 h 1295400"/>
                <a:gd name="connsiteX65" fmla="*/ 2224087 w 2305050"/>
                <a:gd name="connsiteY65" fmla="*/ 450056 h 1295400"/>
                <a:gd name="connsiteX66" fmla="*/ 2235993 w 2305050"/>
                <a:gd name="connsiteY66" fmla="*/ 471488 h 1295400"/>
                <a:gd name="connsiteX67" fmla="*/ 2305050 w 2305050"/>
                <a:gd name="connsiteY67" fmla="*/ 507206 h 129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305050" h="1295400">
                  <a:moveTo>
                    <a:pt x="2381" y="1295400"/>
                  </a:moveTo>
                  <a:lnTo>
                    <a:pt x="0" y="1250156"/>
                  </a:lnTo>
                  <a:lnTo>
                    <a:pt x="35718" y="1221581"/>
                  </a:lnTo>
                  <a:lnTo>
                    <a:pt x="69056" y="1178719"/>
                  </a:lnTo>
                  <a:lnTo>
                    <a:pt x="85725" y="1154906"/>
                  </a:lnTo>
                  <a:lnTo>
                    <a:pt x="130968" y="1133475"/>
                  </a:lnTo>
                  <a:lnTo>
                    <a:pt x="126206" y="1076325"/>
                  </a:lnTo>
                  <a:lnTo>
                    <a:pt x="138112" y="1026319"/>
                  </a:lnTo>
                  <a:lnTo>
                    <a:pt x="159543" y="973931"/>
                  </a:lnTo>
                  <a:lnTo>
                    <a:pt x="219075" y="985838"/>
                  </a:lnTo>
                  <a:lnTo>
                    <a:pt x="240506" y="995363"/>
                  </a:lnTo>
                  <a:lnTo>
                    <a:pt x="297656" y="954881"/>
                  </a:lnTo>
                  <a:lnTo>
                    <a:pt x="304800" y="950119"/>
                  </a:lnTo>
                  <a:lnTo>
                    <a:pt x="347662" y="952500"/>
                  </a:lnTo>
                  <a:lnTo>
                    <a:pt x="376237" y="945356"/>
                  </a:lnTo>
                  <a:lnTo>
                    <a:pt x="354806" y="912019"/>
                  </a:lnTo>
                  <a:lnTo>
                    <a:pt x="369093" y="890588"/>
                  </a:lnTo>
                  <a:lnTo>
                    <a:pt x="416718" y="831056"/>
                  </a:lnTo>
                  <a:lnTo>
                    <a:pt x="454818" y="776288"/>
                  </a:lnTo>
                  <a:lnTo>
                    <a:pt x="502443" y="764381"/>
                  </a:lnTo>
                  <a:lnTo>
                    <a:pt x="511968" y="735806"/>
                  </a:lnTo>
                  <a:lnTo>
                    <a:pt x="511968" y="735806"/>
                  </a:lnTo>
                  <a:lnTo>
                    <a:pt x="535781" y="700088"/>
                  </a:lnTo>
                  <a:lnTo>
                    <a:pt x="545306" y="659606"/>
                  </a:lnTo>
                  <a:lnTo>
                    <a:pt x="547687" y="631031"/>
                  </a:lnTo>
                  <a:lnTo>
                    <a:pt x="561975" y="597694"/>
                  </a:lnTo>
                  <a:lnTo>
                    <a:pt x="566737" y="545306"/>
                  </a:lnTo>
                  <a:lnTo>
                    <a:pt x="592931" y="500063"/>
                  </a:lnTo>
                  <a:lnTo>
                    <a:pt x="616743" y="390525"/>
                  </a:lnTo>
                  <a:lnTo>
                    <a:pt x="671512" y="376238"/>
                  </a:lnTo>
                  <a:lnTo>
                    <a:pt x="700087" y="381000"/>
                  </a:lnTo>
                  <a:lnTo>
                    <a:pt x="795337" y="326231"/>
                  </a:lnTo>
                  <a:lnTo>
                    <a:pt x="821531" y="321469"/>
                  </a:lnTo>
                  <a:lnTo>
                    <a:pt x="919162" y="295275"/>
                  </a:lnTo>
                  <a:lnTo>
                    <a:pt x="947737" y="292894"/>
                  </a:lnTo>
                  <a:lnTo>
                    <a:pt x="1028700" y="200025"/>
                  </a:lnTo>
                  <a:lnTo>
                    <a:pt x="1028700" y="200025"/>
                  </a:lnTo>
                  <a:lnTo>
                    <a:pt x="1090612" y="152400"/>
                  </a:lnTo>
                  <a:lnTo>
                    <a:pt x="1150143" y="133350"/>
                  </a:lnTo>
                  <a:lnTo>
                    <a:pt x="1197768" y="126206"/>
                  </a:lnTo>
                  <a:lnTo>
                    <a:pt x="1226343" y="109538"/>
                  </a:lnTo>
                  <a:lnTo>
                    <a:pt x="1266825" y="119063"/>
                  </a:lnTo>
                  <a:lnTo>
                    <a:pt x="1259681" y="42863"/>
                  </a:lnTo>
                  <a:lnTo>
                    <a:pt x="1285875" y="40481"/>
                  </a:lnTo>
                  <a:lnTo>
                    <a:pt x="1309687" y="2381"/>
                  </a:lnTo>
                  <a:lnTo>
                    <a:pt x="1333500" y="19050"/>
                  </a:lnTo>
                  <a:lnTo>
                    <a:pt x="1366837" y="0"/>
                  </a:lnTo>
                  <a:lnTo>
                    <a:pt x="1388268" y="16669"/>
                  </a:lnTo>
                  <a:lnTo>
                    <a:pt x="1431131" y="9525"/>
                  </a:lnTo>
                  <a:lnTo>
                    <a:pt x="1483518" y="23813"/>
                  </a:lnTo>
                  <a:lnTo>
                    <a:pt x="1533525" y="38100"/>
                  </a:lnTo>
                  <a:lnTo>
                    <a:pt x="1533525" y="38100"/>
                  </a:lnTo>
                  <a:lnTo>
                    <a:pt x="1628775" y="40481"/>
                  </a:lnTo>
                  <a:lnTo>
                    <a:pt x="1676400" y="57150"/>
                  </a:lnTo>
                  <a:lnTo>
                    <a:pt x="1714500" y="66675"/>
                  </a:lnTo>
                  <a:lnTo>
                    <a:pt x="1735931" y="95250"/>
                  </a:lnTo>
                  <a:lnTo>
                    <a:pt x="1788318" y="104775"/>
                  </a:lnTo>
                  <a:lnTo>
                    <a:pt x="1843087" y="133350"/>
                  </a:lnTo>
                  <a:lnTo>
                    <a:pt x="1883568" y="128588"/>
                  </a:lnTo>
                  <a:lnTo>
                    <a:pt x="1926431" y="171450"/>
                  </a:lnTo>
                  <a:lnTo>
                    <a:pt x="1978818" y="169069"/>
                  </a:lnTo>
                  <a:lnTo>
                    <a:pt x="2074068" y="238125"/>
                  </a:lnTo>
                  <a:lnTo>
                    <a:pt x="2109787" y="252413"/>
                  </a:lnTo>
                  <a:lnTo>
                    <a:pt x="2126456" y="295275"/>
                  </a:lnTo>
                  <a:lnTo>
                    <a:pt x="2212181" y="388144"/>
                  </a:lnTo>
                  <a:lnTo>
                    <a:pt x="2224087" y="450056"/>
                  </a:lnTo>
                  <a:lnTo>
                    <a:pt x="2235993" y="471488"/>
                  </a:lnTo>
                  <a:lnTo>
                    <a:pt x="2305050" y="507206"/>
                  </a:lnTo>
                </a:path>
              </a:pathLst>
            </a:custGeom>
            <a:noFill/>
            <a:ln w="25400" cap="flat" cmpd="sng" algn="ctr">
              <a:solidFill>
                <a:srgbClr val="00B0F0"/>
              </a:solidFill>
              <a:prstDash val="sysDash"/>
            </a:ln>
            <a:effectLst/>
          </p:spPr>
          <p:txBody>
            <a:bodyPr rtlCol="0" anchor="ctr"/>
            <a:lstStyle/>
            <a:p>
              <a:pPr algn="ctr" defTabSz="609585"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4" name="Flowchart: Decision 208"/>
            <p:cNvSpPr/>
            <p:nvPr/>
          </p:nvSpPr>
          <p:spPr>
            <a:xfrm>
              <a:off x="2024547" y="4122063"/>
              <a:ext cx="198036" cy="197988"/>
            </a:xfrm>
            <a:prstGeom prst="flowChartDecision">
              <a:avLst/>
            </a:prstGeom>
            <a:solidFill>
              <a:srgbClr val="FFFF00"/>
            </a:solidFill>
            <a:ln w="635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b="1" kern="0" dirty="0">
                  <a:solidFill>
                    <a:prstClr val="black"/>
                  </a:solidFill>
                  <a:latin typeface="Calibri"/>
                </a:rPr>
                <a:t>4</a:t>
              </a:r>
            </a:p>
          </p:txBody>
        </p:sp>
        <p:sp>
          <p:nvSpPr>
            <p:cNvPr id="55" name="Freeform 118"/>
            <p:cNvSpPr/>
            <p:nvPr/>
          </p:nvSpPr>
          <p:spPr>
            <a:xfrm>
              <a:off x="797008" y="4060126"/>
              <a:ext cx="166243" cy="281516"/>
            </a:xfrm>
            <a:custGeom>
              <a:avLst/>
              <a:gdLst>
                <a:gd name="connsiteX0" fmla="*/ 0 w 119062"/>
                <a:gd name="connsiteY0" fmla="*/ 0 h 176212"/>
                <a:gd name="connsiteX1" fmla="*/ 54769 w 119062"/>
                <a:gd name="connsiteY1" fmla="*/ 11906 h 176212"/>
                <a:gd name="connsiteX2" fmla="*/ 88106 w 119062"/>
                <a:gd name="connsiteY2" fmla="*/ 11906 h 176212"/>
                <a:gd name="connsiteX3" fmla="*/ 102394 w 119062"/>
                <a:gd name="connsiteY3" fmla="*/ 50006 h 176212"/>
                <a:gd name="connsiteX4" fmla="*/ 90487 w 119062"/>
                <a:gd name="connsiteY4" fmla="*/ 95250 h 176212"/>
                <a:gd name="connsiteX5" fmla="*/ 97631 w 119062"/>
                <a:gd name="connsiteY5" fmla="*/ 116681 h 176212"/>
                <a:gd name="connsiteX6" fmla="*/ 119062 w 119062"/>
                <a:gd name="connsiteY6" fmla="*/ 147637 h 176212"/>
                <a:gd name="connsiteX7" fmla="*/ 116681 w 119062"/>
                <a:gd name="connsiteY7" fmla="*/ 176212 h 176212"/>
                <a:gd name="connsiteX0" fmla="*/ 0 w 119062"/>
                <a:gd name="connsiteY0" fmla="*/ 0 h 185737"/>
                <a:gd name="connsiteX1" fmla="*/ 54769 w 119062"/>
                <a:gd name="connsiteY1" fmla="*/ 11906 h 185737"/>
                <a:gd name="connsiteX2" fmla="*/ 88106 w 119062"/>
                <a:gd name="connsiteY2" fmla="*/ 11906 h 185737"/>
                <a:gd name="connsiteX3" fmla="*/ 102394 w 119062"/>
                <a:gd name="connsiteY3" fmla="*/ 50006 h 185737"/>
                <a:gd name="connsiteX4" fmla="*/ 90487 w 119062"/>
                <a:gd name="connsiteY4" fmla="*/ 95250 h 185737"/>
                <a:gd name="connsiteX5" fmla="*/ 97631 w 119062"/>
                <a:gd name="connsiteY5" fmla="*/ 116681 h 185737"/>
                <a:gd name="connsiteX6" fmla="*/ 119062 w 119062"/>
                <a:gd name="connsiteY6" fmla="*/ 147637 h 185737"/>
                <a:gd name="connsiteX7" fmla="*/ 111919 w 119062"/>
                <a:gd name="connsiteY7" fmla="*/ 185737 h 185737"/>
                <a:gd name="connsiteX0" fmla="*/ 0 w 124978"/>
                <a:gd name="connsiteY0" fmla="*/ 0 h 211137"/>
                <a:gd name="connsiteX1" fmla="*/ 54769 w 124978"/>
                <a:gd name="connsiteY1" fmla="*/ 11906 h 211137"/>
                <a:gd name="connsiteX2" fmla="*/ 88106 w 124978"/>
                <a:gd name="connsiteY2" fmla="*/ 11906 h 211137"/>
                <a:gd name="connsiteX3" fmla="*/ 102394 w 124978"/>
                <a:gd name="connsiteY3" fmla="*/ 50006 h 211137"/>
                <a:gd name="connsiteX4" fmla="*/ 90487 w 124978"/>
                <a:gd name="connsiteY4" fmla="*/ 95250 h 211137"/>
                <a:gd name="connsiteX5" fmla="*/ 97631 w 124978"/>
                <a:gd name="connsiteY5" fmla="*/ 116681 h 211137"/>
                <a:gd name="connsiteX6" fmla="*/ 119062 w 124978"/>
                <a:gd name="connsiteY6" fmla="*/ 147637 h 211137"/>
                <a:gd name="connsiteX7" fmla="*/ 124619 w 124978"/>
                <a:gd name="connsiteY7" fmla="*/ 211137 h 211137"/>
                <a:gd name="connsiteX0" fmla="*/ 0 w 124682"/>
                <a:gd name="connsiteY0" fmla="*/ 0 h 211137"/>
                <a:gd name="connsiteX1" fmla="*/ 54769 w 124682"/>
                <a:gd name="connsiteY1" fmla="*/ 11906 h 211137"/>
                <a:gd name="connsiteX2" fmla="*/ 88106 w 124682"/>
                <a:gd name="connsiteY2" fmla="*/ 11906 h 211137"/>
                <a:gd name="connsiteX3" fmla="*/ 102394 w 124682"/>
                <a:gd name="connsiteY3" fmla="*/ 50006 h 211137"/>
                <a:gd name="connsiteX4" fmla="*/ 90487 w 124682"/>
                <a:gd name="connsiteY4" fmla="*/ 95250 h 211137"/>
                <a:gd name="connsiteX5" fmla="*/ 97631 w 124682"/>
                <a:gd name="connsiteY5" fmla="*/ 116681 h 211137"/>
                <a:gd name="connsiteX6" fmla="*/ 64293 w 124682"/>
                <a:gd name="connsiteY6" fmla="*/ 192881 h 211137"/>
                <a:gd name="connsiteX7" fmla="*/ 124619 w 124682"/>
                <a:gd name="connsiteY7" fmla="*/ 211137 h 211137"/>
                <a:gd name="connsiteX0" fmla="*/ 0 w 124682"/>
                <a:gd name="connsiteY0" fmla="*/ 0 h 211137"/>
                <a:gd name="connsiteX1" fmla="*/ 54769 w 124682"/>
                <a:gd name="connsiteY1" fmla="*/ 11906 h 211137"/>
                <a:gd name="connsiteX2" fmla="*/ 88106 w 124682"/>
                <a:gd name="connsiteY2" fmla="*/ 11906 h 211137"/>
                <a:gd name="connsiteX3" fmla="*/ 102394 w 124682"/>
                <a:gd name="connsiteY3" fmla="*/ 50006 h 211137"/>
                <a:gd name="connsiteX4" fmla="*/ 90487 w 124682"/>
                <a:gd name="connsiteY4" fmla="*/ 95250 h 211137"/>
                <a:gd name="connsiteX5" fmla="*/ 38100 w 124682"/>
                <a:gd name="connsiteY5" fmla="*/ 178593 h 211137"/>
                <a:gd name="connsiteX6" fmla="*/ 64293 w 124682"/>
                <a:gd name="connsiteY6" fmla="*/ 192881 h 211137"/>
                <a:gd name="connsiteX7" fmla="*/ 124619 w 124682"/>
                <a:gd name="connsiteY7" fmla="*/ 211137 h 211137"/>
                <a:gd name="connsiteX0" fmla="*/ 0 w 124682"/>
                <a:gd name="connsiteY0" fmla="*/ 0 h 211137"/>
                <a:gd name="connsiteX1" fmla="*/ 54769 w 124682"/>
                <a:gd name="connsiteY1" fmla="*/ 11906 h 211137"/>
                <a:gd name="connsiteX2" fmla="*/ 88106 w 124682"/>
                <a:gd name="connsiteY2" fmla="*/ 11906 h 211137"/>
                <a:gd name="connsiteX3" fmla="*/ 102394 w 124682"/>
                <a:gd name="connsiteY3" fmla="*/ 50006 h 211137"/>
                <a:gd name="connsiteX4" fmla="*/ 50006 w 124682"/>
                <a:gd name="connsiteY4" fmla="*/ 140494 h 211137"/>
                <a:gd name="connsiteX5" fmla="*/ 38100 w 124682"/>
                <a:gd name="connsiteY5" fmla="*/ 178593 h 211137"/>
                <a:gd name="connsiteX6" fmla="*/ 64293 w 124682"/>
                <a:gd name="connsiteY6" fmla="*/ 192881 h 211137"/>
                <a:gd name="connsiteX7" fmla="*/ 124619 w 124682"/>
                <a:gd name="connsiteY7" fmla="*/ 211137 h 211137"/>
                <a:gd name="connsiteX0" fmla="*/ 0 w 124682"/>
                <a:gd name="connsiteY0" fmla="*/ 0 h 211137"/>
                <a:gd name="connsiteX1" fmla="*/ 54769 w 124682"/>
                <a:gd name="connsiteY1" fmla="*/ 11906 h 211137"/>
                <a:gd name="connsiteX2" fmla="*/ 88106 w 124682"/>
                <a:gd name="connsiteY2" fmla="*/ 11906 h 211137"/>
                <a:gd name="connsiteX3" fmla="*/ 11906 w 124682"/>
                <a:gd name="connsiteY3" fmla="*/ 126206 h 211137"/>
                <a:gd name="connsiteX4" fmla="*/ 50006 w 124682"/>
                <a:gd name="connsiteY4" fmla="*/ 140494 h 211137"/>
                <a:gd name="connsiteX5" fmla="*/ 38100 w 124682"/>
                <a:gd name="connsiteY5" fmla="*/ 178593 h 211137"/>
                <a:gd name="connsiteX6" fmla="*/ 64293 w 124682"/>
                <a:gd name="connsiteY6" fmla="*/ 192881 h 211137"/>
                <a:gd name="connsiteX7" fmla="*/ 124619 w 124682"/>
                <a:gd name="connsiteY7" fmla="*/ 211137 h 211137"/>
                <a:gd name="connsiteX0" fmla="*/ 0 w 124682"/>
                <a:gd name="connsiteY0" fmla="*/ 0 h 211137"/>
                <a:gd name="connsiteX1" fmla="*/ 54769 w 124682"/>
                <a:gd name="connsiteY1" fmla="*/ 11906 h 211137"/>
                <a:gd name="connsiteX2" fmla="*/ 7144 w 124682"/>
                <a:gd name="connsiteY2" fmla="*/ 97631 h 211137"/>
                <a:gd name="connsiteX3" fmla="*/ 11906 w 124682"/>
                <a:gd name="connsiteY3" fmla="*/ 126206 h 211137"/>
                <a:gd name="connsiteX4" fmla="*/ 50006 w 124682"/>
                <a:gd name="connsiteY4" fmla="*/ 140494 h 211137"/>
                <a:gd name="connsiteX5" fmla="*/ 38100 w 124682"/>
                <a:gd name="connsiteY5" fmla="*/ 178593 h 211137"/>
                <a:gd name="connsiteX6" fmla="*/ 64293 w 124682"/>
                <a:gd name="connsiteY6" fmla="*/ 192881 h 211137"/>
                <a:gd name="connsiteX7" fmla="*/ 124619 w 124682"/>
                <a:gd name="connsiteY7" fmla="*/ 211137 h 211137"/>
                <a:gd name="connsiteX0" fmla="*/ 0 w 124682"/>
                <a:gd name="connsiteY0" fmla="*/ 0 h 211137"/>
                <a:gd name="connsiteX1" fmla="*/ 45244 w 124682"/>
                <a:gd name="connsiteY1" fmla="*/ 28574 h 211137"/>
                <a:gd name="connsiteX2" fmla="*/ 7144 w 124682"/>
                <a:gd name="connsiteY2" fmla="*/ 97631 h 211137"/>
                <a:gd name="connsiteX3" fmla="*/ 11906 w 124682"/>
                <a:gd name="connsiteY3" fmla="*/ 126206 h 211137"/>
                <a:gd name="connsiteX4" fmla="*/ 50006 w 124682"/>
                <a:gd name="connsiteY4" fmla="*/ 140494 h 211137"/>
                <a:gd name="connsiteX5" fmla="*/ 38100 w 124682"/>
                <a:gd name="connsiteY5" fmla="*/ 178593 h 211137"/>
                <a:gd name="connsiteX6" fmla="*/ 64293 w 124682"/>
                <a:gd name="connsiteY6" fmla="*/ 192881 h 211137"/>
                <a:gd name="connsiteX7" fmla="*/ 124619 w 124682"/>
                <a:gd name="connsiteY7" fmla="*/ 211137 h 211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682" h="211137">
                  <a:moveTo>
                    <a:pt x="0" y="0"/>
                  </a:moveTo>
                  <a:lnTo>
                    <a:pt x="45244" y="28574"/>
                  </a:lnTo>
                  <a:lnTo>
                    <a:pt x="7144" y="97631"/>
                  </a:lnTo>
                  <a:lnTo>
                    <a:pt x="11906" y="126206"/>
                  </a:lnTo>
                  <a:lnTo>
                    <a:pt x="50006" y="140494"/>
                  </a:lnTo>
                  <a:lnTo>
                    <a:pt x="38100" y="178593"/>
                  </a:lnTo>
                  <a:cubicBezTo>
                    <a:pt x="45244" y="188912"/>
                    <a:pt x="57149" y="182562"/>
                    <a:pt x="64293" y="192881"/>
                  </a:cubicBezTo>
                  <a:cubicBezTo>
                    <a:pt x="61912" y="205581"/>
                    <a:pt x="127000" y="198437"/>
                    <a:pt x="124619" y="211137"/>
                  </a:cubicBezTo>
                </a:path>
              </a:pathLst>
            </a:custGeom>
            <a:noFill/>
            <a:ln w="25400" cap="flat" cmpd="sng" algn="ctr">
              <a:solidFill>
                <a:srgbClr val="00B05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6" name="Freeform 10"/>
            <p:cNvSpPr/>
            <p:nvPr/>
          </p:nvSpPr>
          <p:spPr>
            <a:xfrm>
              <a:off x="4368883" y="5361875"/>
              <a:ext cx="0" cy="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  <a:gd name="connsiteX2" fmla="*/ 0 w 0"/>
                <a:gd name="connsiteY2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09585"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7" name="Freeform 20"/>
            <p:cNvSpPr/>
            <p:nvPr/>
          </p:nvSpPr>
          <p:spPr>
            <a:xfrm>
              <a:off x="4356183" y="3872800"/>
              <a:ext cx="533400" cy="1517651"/>
            </a:xfrm>
            <a:custGeom>
              <a:avLst/>
              <a:gdLst>
                <a:gd name="connsiteX0" fmla="*/ 9525 w 397669"/>
                <a:gd name="connsiteY0" fmla="*/ 1116806 h 1116806"/>
                <a:gd name="connsiteX1" fmla="*/ 14288 w 397669"/>
                <a:gd name="connsiteY1" fmla="*/ 1054894 h 1116806"/>
                <a:gd name="connsiteX2" fmla="*/ 16669 w 397669"/>
                <a:gd name="connsiteY2" fmla="*/ 1021556 h 1116806"/>
                <a:gd name="connsiteX3" fmla="*/ 0 w 397669"/>
                <a:gd name="connsiteY3" fmla="*/ 992981 h 1116806"/>
                <a:gd name="connsiteX4" fmla="*/ 50007 w 397669"/>
                <a:gd name="connsiteY4" fmla="*/ 878681 h 1116806"/>
                <a:gd name="connsiteX5" fmla="*/ 30957 w 397669"/>
                <a:gd name="connsiteY5" fmla="*/ 821531 h 1116806"/>
                <a:gd name="connsiteX6" fmla="*/ 16669 w 397669"/>
                <a:gd name="connsiteY6" fmla="*/ 795338 h 1116806"/>
                <a:gd name="connsiteX7" fmla="*/ 21432 w 397669"/>
                <a:gd name="connsiteY7" fmla="*/ 783431 h 1116806"/>
                <a:gd name="connsiteX8" fmla="*/ 47625 w 397669"/>
                <a:gd name="connsiteY8" fmla="*/ 764381 h 1116806"/>
                <a:gd name="connsiteX9" fmla="*/ 54769 w 397669"/>
                <a:gd name="connsiteY9" fmla="*/ 731044 h 1116806"/>
                <a:gd name="connsiteX10" fmla="*/ 61913 w 397669"/>
                <a:gd name="connsiteY10" fmla="*/ 673894 h 1116806"/>
                <a:gd name="connsiteX11" fmla="*/ 64294 w 397669"/>
                <a:gd name="connsiteY11" fmla="*/ 654844 h 1116806"/>
                <a:gd name="connsiteX12" fmla="*/ 102394 w 397669"/>
                <a:gd name="connsiteY12" fmla="*/ 611981 h 1116806"/>
                <a:gd name="connsiteX13" fmla="*/ 121444 w 397669"/>
                <a:gd name="connsiteY13" fmla="*/ 590550 h 1116806"/>
                <a:gd name="connsiteX14" fmla="*/ 142875 w 397669"/>
                <a:gd name="connsiteY14" fmla="*/ 547688 h 1116806"/>
                <a:gd name="connsiteX15" fmla="*/ 142875 w 397669"/>
                <a:gd name="connsiteY15" fmla="*/ 507206 h 1116806"/>
                <a:gd name="connsiteX16" fmla="*/ 161925 w 397669"/>
                <a:gd name="connsiteY16" fmla="*/ 483394 h 1116806"/>
                <a:gd name="connsiteX17" fmla="*/ 152400 w 397669"/>
                <a:gd name="connsiteY17" fmla="*/ 447675 h 1116806"/>
                <a:gd name="connsiteX18" fmla="*/ 142875 w 397669"/>
                <a:gd name="connsiteY18" fmla="*/ 395288 h 1116806"/>
                <a:gd name="connsiteX19" fmla="*/ 145257 w 397669"/>
                <a:gd name="connsiteY19" fmla="*/ 347663 h 1116806"/>
                <a:gd name="connsiteX20" fmla="*/ 145257 w 397669"/>
                <a:gd name="connsiteY20" fmla="*/ 309563 h 1116806"/>
                <a:gd name="connsiteX21" fmla="*/ 183357 w 397669"/>
                <a:gd name="connsiteY21" fmla="*/ 271463 h 1116806"/>
                <a:gd name="connsiteX22" fmla="*/ 230982 w 397669"/>
                <a:gd name="connsiteY22" fmla="*/ 209550 h 1116806"/>
                <a:gd name="connsiteX23" fmla="*/ 280988 w 397669"/>
                <a:gd name="connsiteY23" fmla="*/ 152400 h 1116806"/>
                <a:gd name="connsiteX24" fmla="*/ 330994 w 397669"/>
                <a:gd name="connsiteY24" fmla="*/ 102394 h 1116806"/>
                <a:gd name="connsiteX25" fmla="*/ 369094 w 397669"/>
                <a:gd name="connsiteY25" fmla="*/ 50006 h 1116806"/>
                <a:gd name="connsiteX26" fmla="*/ 397669 w 397669"/>
                <a:gd name="connsiteY26" fmla="*/ 38100 h 1116806"/>
                <a:gd name="connsiteX27" fmla="*/ 390525 w 397669"/>
                <a:gd name="connsiteY27" fmla="*/ 0 h 1116806"/>
                <a:gd name="connsiteX0" fmla="*/ 0 w 400050"/>
                <a:gd name="connsiteY0" fmla="*/ 1138238 h 1138238"/>
                <a:gd name="connsiteX1" fmla="*/ 16669 w 400050"/>
                <a:gd name="connsiteY1" fmla="*/ 1054894 h 1138238"/>
                <a:gd name="connsiteX2" fmla="*/ 19050 w 400050"/>
                <a:gd name="connsiteY2" fmla="*/ 1021556 h 1138238"/>
                <a:gd name="connsiteX3" fmla="*/ 2381 w 400050"/>
                <a:gd name="connsiteY3" fmla="*/ 992981 h 1138238"/>
                <a:gd name="connsiteX4" fmla="*/ 52388 w 400050"/>
                <a:gd name="connsiteY4" fmla="*/ 878681 h 1138238"/>
                <a:gd name="connsiteX5" fmla="*/ 33338 w 400050"/>
                <a:gd name="connsiteY5" fmla="*/ 821531 h 1138238"/>
                <a:gd name="connsiteX6" fmla="*/ 19050 w 400050"/>
                <a:gd name="connsiteY6" fmla="*/ 795338 h 1138238"/>
                <a:gd name="connsiteX7" fmla="*/ 23813 w 400050"/>
                <a:gd name="connsiteY7" fmla="*/ 783431 h 1138238"/>
                <a:gd name="connsiteX8" fmla="*/ 50006 w 400050"/>
                <a:gd name="connsiteY8" fmla="*/ 764381 h 1138238"/>
                <a:gd name="connsiteX9" fmla="*/ 57150 w 400050"/>
                <a:gd name="connsiteY9" fmla="*/ 731044 h 1138238"/>
                <a:gd name="connsiteX10" fmla="*/ 64294 w 400050"/>
                <a:gd name="connsiteY10" fmla="*/ 673894 h 1138238"/>
                <a:gd name="connsiteX11" fmla="*/ 66675 w 400050"/>
                <a:gd name="connsiteY11" fmla="*/ 654844 h 1138238"/>
                <a:gd name="connsiteX12" fmla="*/ 104775 w 400050"/>
                <a:gd name="connsiteY12" fmla="*/ 611981 h 1138238"/>
                <a:gd name="connsiteX13" fmla="*/ 123825 w 400050"/>
                <a:gd name="connsiteY13" fmla="*/ 590550 h 1138238"/>
                <a:gd name="connsiteX14" fmla="*/ 145256 w 400050"/>
                <a:gd name="connsiteY14" fmla="*/ 547688 h 1138238"/>
                <a:gd name="connsiteX15" fmla="*/ 145256 w 400050"/>
                <a:gd name="connsiteY15" fmla="*/ 507206 h 1138238"/>
                <a:gd name="connsiteX16" fmla="*/ 164306 w 400050"/>
                <a:gd name="connsiteY16" fmla="*/ 483394 h 1138238"/>
                <a:gd name="connsiteX17" fmla="*/ 154781 w 400050"/>
                <a:gd name="connsiteY17" fmla="*/ 447675 h 1138238"/>
                <a:gd name="connsiteX18" fmla="*/ 145256 w 400050"/>
                <a:gd name="connsiteY18" fmla="*/ 395288 h 1138238"/>
                <a:gd name="connsiteX19" fmla="*/ 147638 w 400050"/>
                <a:gd name="connsiteY19" fmla="*/ 347663 h 1138238"/>
                <a:gd name="connsiteX20" fmla="*/ 147638 w 400050"/>
                <a:gd name="connsiteY20" fmla="*/ 309563 h 1138238"/>
                <a:gd name="connsiteX21" fmla="*/ 185738 w 400050"/>
                <a:gd name="connsiteY21" fmla="*/ 271463 h 1138238"/>
                <a:gd name="connsiteX22" fmla="*/ 233363 w 400050"/>
                <a:gd name="connsiteY22" fmla="*/ 209550 h 1138238"/>
                <a:gd name="connsiteX23" fmla="*/ 283369 w 400050"/>
                <a:gd name="connsiteY23" fmla="*/ 152400 h 1138238"/>
                <a:gd name="connsiteX24" fmla="*/ 333375 w 400050"/>
                <a:gd name="connsiteY24" fmla="*/ 102394 h 1138238"/>
                <a:gd name="connsiteX25" fmla="*/ 371475 w 400050"/>
                <a:gd name="connsiteY25" fmla="*/ 50006 h 1138238"/>
                <a:gd name="connsiteX26" fmla="*/ 400050 w 400050"/>
                <a:gd name="connsiteY26" fmla="*/ 38100 h 1138238"/>
                <a:gd name="connsiteX27" fmla="*/ 392906 w 400050"/>
                <a:gd name="connsiteY27" fmla="*/ 0 h 113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00050" h="1138238">
                  <a:moveTo>
                    <a:pt x="0" y="1138238"/>
                  </a:moveTo>
                  <a:lnTo>
                    <a:pt x="16669" y="1054894"/>
                  </a:lnTo>
                  <a:lnTo>
                    <a:pt x="19050" y="1021556"/>
                  </a:lnTo>
                  <a:lnTo>
                    <a:pt x="2381" y="992981"/>
                  </a:lnTo>
                  <a:lnTo>
                    <a:pt x="52388" y="878681"/>
                  </a:lnTo>
                  <a:lnTo>
                    <a:pt x="33338" y="821531"/>
                  </a:lnTo>
                  <a:lnTo>
                    <a:pt x="19050" y="795338"/>
                  </a:lnTo>
                  <a:lnTo>
                    <a:pt x="23813" y="783431"/>
                  </a:lnTo>
                  <a:lnTo>
                    <a:pt x="50006" y="764381"/>
                  </a:lnTo>
                  <a:lnTo>
                    <a:pt x="57150" y="731044"/>
                  </a:lnTo>
                  <a:lnTo>
                    <a:pt x="64294" y="673894"/>
                  </a:lnTo>
                  <a:lnTo>
                    <a:pt x="66675" y="654844"/>
                  </a:lnTo>
                  <a:lnTo>
                    <a:pt x="104775" y="611981"/>
                  </a:lnTo>
                  <a:lnTo>
                    <a:pt x="123825" y="590550"/>
                  </a:lnTo>
                  <a:lnTo>
                    <a:pt x="145256" y="547688"/>
                  </a:lnTo>
                  <a:lnTo>
                    <a:pt x="145256" y="507206"/>
                  </a:lnTo>
                  <a:lnTo>
                    <a:pt x="164306" y="483394"/>
                  </a:lnTo>
                  <a:lnTo>
                    <a:pt x="154781" y="447675"/>
                  </a:lnTo>
                  <a:lnTo>
                    <a:pt x="145256" y="395288"/>
                  </a:lnTo>
                  <a:lnTo>
                    <a:pt x="147638" y="347663"/>
                  </a:lnTo>
                  <a:lnTo>
                    <a:pt x="147638" y="309563"/>
                  </a:lnTo>
                  <a:lnTo>
                    <a:pt x="185738" y="271463"/>
                  </a:lnTo>
                  <a:lnTo>
                    <a:pt x="233363" y="209550"/>
                  </a:lnTo>
                  <a:lnTo>
                    <a:pt x="283369" y="152400"/>
                  </a:lnTo>
                  <a:lnTo>
                    <a:pt x="333375" y="102394"/>
                  </a:lnTo>
                  <a:lnTo>
                    <a:pt x="371475" y="50006"/>
                  </a:lnTo>
                  <a:lnTo>
                    <a:pt x="400050" y="38100"/>
                  </a:lnTo>
                  <a:lnTo>
                    <a:pt x="392906" y="0"/>
                  </a:lnTo>
                </a:path>
              </a:pathLst>
            </a:custGeom>
            <a:noFill/>
            <a:ln w="25400" cap="flat" cmpd="sng" algn="ctr">
              <a:solidFill>
                <a:srgbClr val="00B050"/>
              </a:solidFill>
              <a:prstDash val="dash"/>
            </a:ln>
            <a:effectLst/>
          </p:spPr>
          <p:txBody>
            <a:bodyPr rtlCol="0" anchor="ctr"/>
            <a:lstStyle/>
            <a:p>
              <a:pPr algn="ctr" defTabSz="609585">
                <a:defRPr/>
              </a:pPr>
              <a:endParaRPr lang="en-US" sz="2400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8" name="Oval 76"/>
            <p:cNvSpPr/>
            <p:nvPr/>
          </p:nvSpPr>
          <p:spPr>
            <a:xfrm>
              <a:off x="3462777" y="3413512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1</a:t>
              </a:r>
            </a:p>
          </p:txBody>
        </p:sp>
        <p:sp>
          <p:nvSpPr>
            <p:cNvPr id="59" name="Oval 79"/>
            <p:cNvSpPr/>
            <p:nvPr/>
          </p:nvSpPr>
          <p:spPr>
            <a:xfrm>
              <a:off x="2632931" y="5499004"/>
              <a:ext cx="166829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2</a:t>
              </a:r>
            </a:p>
          </p:txBody>
        </p:sp>
        <p:sp>
          <p:nvSpPr>
            <p:cNvPr id="60" name="Oval 80"/>
            <p:cNvSpPr/>
            <p:nvPr/>
          </p:nvSpPr>
          <p:spPr>
            <a:xfrm>
              <a:off x="2573093" y="5638044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3</a:t>
              </a:r>
            </a:p>
          </p:txBody>
        </p:sp>
        <p:sp>
          <p:nvSpPr>
            <p:cNvPr id="61" name="Oval 81"/>
            <p:cNvSpPr/>
            <p:nvPr/>
          </p:nvSpPr>
          <p:spPr>
            <a:xfrm>
              <a:off x="2197508" y="5788848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4</a:t>
              </a:r>
            </a:p>
          </p:txBody>
        </p:sp>
        <p:sp>
          <p:nvSpPr>
            <p:cNvPr id="62" name="Oval 82"/>
            <p:cNvSpPr/>
            <p:nvPr/>
          </p:nvSpPr>
          <p:spPr>
            <a:xfrm>
              <a:off x="8990276" y="2336020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5</a:t>
              </a:r>
            </a:p>
          </p:txBody>
        </p:sp>
        <p:sp>
          <p:nvSpPr>
            <p:cNvPr id="63" name="Oval 83"/>
            <p:cNvSpPr/>
            <p:nvPr/>
          </p:nvSpPr>
          <p:spPr>
            <a:xfrm>
              <a:off x="6767632" y="3361707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6</a:t>
              </a:r>
            </a:p>
          </p:txBody>
        </p:sp>
        <p:sp>
          <p:nvSpPr>
            <p:cNvPr id="64" name="Oval 84"/>
            <p:cNvSpPr/>
            <p:nvPr/>
          </p:nvSpPr>
          <p:spPr>
            <a:xfrm>
              <a:off x="6088143" y="2728456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7</a:t>
              </a:r>
            </a:p>
          </p:txBody>
        </p:sp>
        <p:sp>
          <p:nvSpPr>
            <p:cNvPr id="65" name="Oval 85"/>
            <p:cNvSpPr/>
            <p:nvPr/>
          </p:nvSpPr>
          <p:spPr>
            <a:xfrm>
              <a:off x="7144781" y="3232292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8</a:t>
              </a:r>
            </a:p>
          </p:txBody>
        </p:sp>
        <p:sp>
          <p:nvSpPr>
            <p:cNvPr id="66" name="Oval 86"/>
            <p:cNvSpPr/>
            <p:nvPr/>
          </p:nvSpPr>
          <p:spPr>
            <a:xfrm>
              <a:off x="6306377" y="3008156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9</a:t>
              </a:r>
            </a:p>
          </p:txBody>
        </p:sp>
        <p:sp>
          <p:nvSpPr>
            <p:cNvPr id="67" name="Oval 87"/>
            <p:cNvSpPr/>
            <p:nvPr/>
          </p:nvSpPr>
          <p:spPr>
            <a:xfrm>
              <a:off x="6980289" y="3492152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10</a:t>
              </a:r>
            </a:p>
          </p:txBody>
        </p:sp>
        <p:sp>
          <p:nvSpPr>
            <p:cNvPr id="68" name="Oval 88"/>
            <p:cNvSpPr/>
            <p:nvPr/>
          </p:nvSpPr>
          <p:spPr>
            <a:xfrm>
              <a:off x="6675173" y="3599672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11</a:t>
              </a:r>
            </a:p>
          </p:txBody>
        </p:sp>
        <p:sp>
          <p:nvSpPr>
            <p:cNvPr id="69" name="Oval 89"/>
            <p:cNvSpPr/>
            <p:nvPr/>
          </p:nvSpPr>
          <p:spPr>
            <a:xfrm>
              <a:off x="5988251" y="2560509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12</a:t>
              </a:r>
            </a:p>
          </p:txBody>
        </p:sp>
        <p:sp>
          <p:nvSpPr>
            <p:cNvPr id="70" name="Oval 90"/>
            <p:cNvSpPr/>
            <p:nvPr/>
          </p:nvSpPr>
          <p:spPr>
            <a:xfrm>
              <a:off x="7464663" y="3002764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13</a:t>
              </a:r>
            </a:p>
          </p:txBody>
        </p:sp>
        <p:sp>
          <p:nvSpPr>
            <p:cNvPr id="71" name="Oval 91"/>
            <p:cNvSpPr/>
            <p:nvPr/>
          </p:nvSpPr>
          <p:spPr>
            <a:xfrm>
              <a:off x="6350624" y="2022867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14</a:t>
              </a:r>
            </a:p>
          </p:txBody>
        </p:sp>
        <p:sp>
          <p:nvSpPr>
            <p:cNvPr id="72" name="Oval 92"/>
            <p:cNvSpPr/>
            <p:nvPr/>
          </p:nvSpPr>
          <p:spPr>
            <a:xfrm>
              <a:off x="5953385" y="3597835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15</a:t>
              </a:r>
            </a:p>
          </p:txBody>
        </p:sp>
        <p:sp>
          <p:nvSpPr>
            <p:cNvPr id="73" name="Oval 93"/>
            <p:cNvSpPr/>
            <p:nvPr/>
          </p:nvSpPr>
          <p:spPr>
            <a:xfrm>
              <a:off x="6038693" y="4244015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16</a:t>
              </a:r>
            </a:p>
          </p:txBody>
        </p:sp>
        <p:sp>
          <p:nvSpPr>
            <p:cNvPr id="74" name="Oval 94"/>
            <p:cNvSpPr/>
            <p:nvPr/>
          </p:nvSpPr>
          <p:spPr>
            <a:xfrm>
              <a:off x="9313704" y="1443595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21</a:t>
              </a:r>
            </a:p>
          </p:txBody>
        </p:sp>
        <p:sp>
          <p:nvSpPr>
            <p:cNvPr id="75" name="Oval 95"/>
            <p:cNvSpPr/>
            <p:nvPr/>
          </p:nvSpPr>
          <p:spPr>
            <a:xfrm>
              <a:off x="9402164" y="1767227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22</a:t>
              </a:r>
            </a:p>
          </p:txBody>
        </p:sp>
        <p:sp>
          <p:nvSpPr>
            <p:cNvPr id="76" name="Oval 99"/>
            <p:cNvSpPr/>
            <p:nvPr/>
          </p:nvSpPr>
          <p:spPr>
            <a:xfrm>
              <a:off x="2882567" y="3059885"/>
              <a:ext cx="182880" cy="18288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4</a:t>
              </a:r>
            </a:p>
          </p:txBody>
        </p:sp>
        <p:sp>
          <p:nvSpPr>
            <p:cNvPr id="77" name="Oval 100"/>
            <p:cNvSpPr/>
            <p:nvPr/>
          </p:nvSpPr>
          <p:spPr>
            <a:xfrm>
              <a:off x="566701" y="4274016"/>
              <a:ext cx="182880" cy="18288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1</a:t>
              </a:r>
            </a:p>
          </p:txBody>
        </p:sp>
        <p:sp>
          <p:nvSpPr>
            <p:cNvPr id="78" name="Oval 101"/>
            <p:cNvSpPr/>
            <p:nvPr/>
          </p:nvSpPr>
          <p:spPr>
            <a:xfrm>
              <a:off x="865535" y="4661704"/>
              <a:ext cx="182880" cy="18288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2</a:t>
              </a:r>
            </a:p>
          </p:txBody>
        </p:sp>
        <p:pic>
          <p:nvPicPr>
            <p:cNvPr id="79" name="Picture 205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1287" y="4243344"/>
              <a:ext cx="180767" cy="150117"/>
            </a:xfrm>
            <a:prstGeom prst="rect">
              <a:avLst/>
            </a:prstGeom>
            <a:solidFill>
              <a:srgbClr val="0070C0"/>
            </a:solidFill>
          </p:spPr>
        </p:pic>
        <p:sp>
          <p:nvSpPr>
            <p:cNvPr id="80" name="Oval 102"/>
            <p:cNvSpPr/>
            <p:nvPr/>
          </p:nvSpPr>
          <p:spPr>
            <a:xfrm>
              <a:off x="7402149" y="2218976"/>
              <a:ext cx="182880" cy="18288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5</a:t>
              </a:r>
            </a:p>
          </p:txBody>
        </p:sp>
        <p:sp>
          <p:nvSpPr>
            <p:cNvPr id="81" name="Oval 103"/>
            <p:cNvSpPr/>
            <p:nvPr/>
          </p:nvSpPr>
          <p:spPr>
            <a:xfrm>
              <a:off x="5590371" y="2843279"/>
              <a:ext cx="182880" cy="18288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7</a:t>
              </a:r>
            </a:p>
          </p:txBody>
        </p:sp>
        <p:pic>
          <p:nvPicPr>
            <p:cNvPr id="82" name="Picture 105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23994" y="1788334"/>
              <a:ext cx="219300" cy="191143"/>
            </a:xfrm>
            <a:prstGeom prst="rect">
              <a:avLst/>
            </a:prstGeom>
            <a:solidFill>
              <a:sysClr val="window" lastClr="FFFFFF"/>
            </a:solidFill>
          </p:spPr>
        </p:pic>
        <p:sp>
          <p:nvSpPr>
            <p:cNvPr id="83" name="Oval 104"/>
            <p:cNvSpPr/>
            <p:nvPr/>
          </p:nvSpPr>
          <p:spPr>
            <a:xfrm>
              <a:off x="7144781" y="1905443"/>
              <a:ext cx="182880" cy="18288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6</a:t>
              </a:r>
            </a:p>
          </p:txBody>
        </p:sp>
        <p:sp>
          <p:nvSpPr>
            <p:cNvPr id="84" name="Oval 106"/>
            <p:cNvSpPr/>
            <p:nvPr/>
          </p:nvSpPr>
          <p:spPr>
            <a:xfrm>
              <a:off x="2982887" y="3094204"/>
              <a:ext cx="182880" cy="182880"/>
            </a:xfrm>
            <a:prstGeom prst="ellipse">
              <a:avLst/>
            </a:prstGeom>
            <a:solidFill>
              <a:srgbClr val="0000FF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1</a:t>
              </a:r>
            </a:p>
          </p:txBody>
        </p:sp>
        <p:sp>
          <p:nvSpPr>
            <p:cNvPr id="85" name="Oval 127"/>
            <p:cNvSpPr/>
            <p:nvPr/>
          </p:nvSpPr>
          <p:spPr>
            <a:xfrm>
              <a:off x="4405693" y="3044451"/>
              <a:ext cx="182880" cy="18288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2</a:t>
              </a:r>
            </a:p>
          </p:txBody>
        </p:sp>
        <p:sp>
          <p:nvSpPr>
            <p:cNvPr id="86" name="TextBox 21"/>
            <p:cNvSpPr txBox="1"/>
            <p:nvPr/>
          </p:nvSpPr>
          <p:spPr>
            <a:xfrm>
              <a:off x="3522259" y="2930875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250 KM</a:t>
              </a:r>
            </a:p>
          </p:txBody>
        </p:sp>
        <p:sp>
          <p:nvSpPr>
            <p:cNvPr id="87" name="Oval 128"/>
            <p:cNvSpPr/>
            <p:nvPr/>
          </p:nvSpPr>
          <p:spPr>
            <a:xfrm>
              <a:off x="4889583" y="3318592"/>
              <a:ext cx="182880" cy="182880"/>
            </a:xfrm>
            <a:prstGeom prst="ellipse">
              <a:avLst/>
            </a:prstGeom>
            <a:solidFill>
              <a:srgbClr val="7030A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3</a:t>
              </a:r>
            </a:p>
          </p:txBody>
        </p:sp>
        <p:sp>
          <p:nvSpPr>
            <p:cNvPr id="88" name="TextBox 129"/>
            <p:cNvSpPr txBox="1"/>
            <p:nvPr/>
          </p:nvSpPr>
          <p:spPr>
            <a:xfrm>
              <a:off x="4266929" y="3251472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82 KM</a:t>
              </a:r>
            </a:p>
          </p:txBody>
        </p:sp>
        <p:sp>
          <p:nvSpPr>
            <p:cNvPr id="89" name="TextBox 131"/>
            <p:cNvSpPr txBox="1"/>
            <p:nvPr/>
          </p:nvSpPr>
          <p:spPr>
            <a:xfrm>
              <a:off x="4877619" y="3054042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242 KM</a:t>
              </a:r>
            </a:p>
          </p:txBody>
        </p:sp>
        <p:sp>
          <p:nvSpPr>
            <p:cNvPr id="90" name="Oval 132"/>
            <p:cNvSpPr/>
            <p:nvPr/>
          </p:nvSpPr>
          <p:spPr>
            <a:xfrm>
              <a:off x="5582427" y="2950196"/>
              <a:ext cx="182880" cy="18288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4</a:t>
              </a:r>
            </a:p>
          </p:txBody>
        </p:sp>
        <p:sp>
          <p:nvSpPr>
            <p:cNvPr id="91" name="TextBox 133"/>
            <p:cNvSpPr txBox="1"/>
            <p:nvPr/>
          </p:nvSpPr>
          <p:spPr>
            <a:xfrm>
              <a:off x="5766513" y="3014315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08 KM</a:t>
              </a:r>
            </a:p>
          </p:txBody>
        </p:sp>
        <p:sp>
          <p:nvSpPr>
            <p:cNvPr id="92" name="Oval 134"/>
            <p:cNvSpPr/>
            <p:nvPr/>
          </p:nvSpPr>
          <p:spPr>
            <a:xfrm>
              <a:off x="1738131" y="4572177"/>
              <a:ext cx="182880" cy="18288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5</a:t>
              </a:r>
            </a:p>
          </p:txBody>
        </p:sp>
        <p:sp>
          <p:nvSpPr>
            <p:cNvPr id="93" name="TextBox 135"/>
            <p:cNvSpPr txBox="1"/>
            <p:nvPr/>
          </p:nvSpPr>
          <p:spPr>
            <a:xfrm>
              <a:off x="1126860" y="4209715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250 KM</a:t>
              </a:r>
            </a:p>
          </p:txBody>
        </p:sp>
        <p:sp>
          <p:nvSpPr>
            <p:cNvPr id="94" name="TextBox 136"/>
            <p:cNvSpPr txBox="1"/>
            <p:nvPr/>
          </p:nvSpPr>
          <p:spPr>
            <a:xfrm>
              <a:off x="1038816" y="4565018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70 KM</a:t>
              </a:r>
            </a:p>
          </p:txBody>
        </p:sp>
        <p:sp>
          <p:nvSpPr>
            <p:cNvPr id="95" name="TextBox 138"/>
            <p:cNvSpPr txBox="1"/>
            <p:nvPr/>
          </p:nvSpPr>
          <p:spPr>
            <a:xfrm>
              <a:off x="2203013" y="4400508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227 KM</a:t>
              </a:r>
            </a:p>
          </p:txBody>
        </p:sp>
        <p:sp>
          <p:nvSpPr>
            <p:cNvPr id="96" name="Oval 144"/>
            <p:cNvSpPr/>
            <p:nvPr/>
          </p:nvSpPr>
          <p:spPr>
            <a:xfrm>
              <a:off x="4171716" y="3893253"/>
              <a:ext cx="182880" cy="182880"/>
            </a:xfrm>
            <a:prstGeom prst="ellipse">
              <a:avLst/>
            </a:prstGeom>
            <a:solidFill>
              <a:srgbClr val="0000FF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7</a:t>
              </a:r>
            </a:p>
          </p:txBody>
        </p:sp>
        <p:sp>
          <p:nvSpPr>
            <p:cNvPr id="97" name="TextBox 147"/>
            <p:cNvSpPr txBox="1"/>
            <p:nvPr/>
          </p:nvSpPr>
          <p:spPr>
            <a:xfrm>
              <a:off x="3458381" y="3614346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267 KM</a:t>
              </a:r>
            </a:p>
          </p:txBody>
        </p:sp>
        <p:sp>
          <p:nvSpPr>
            <p:cNvPr id="98" name="Oval 150"/>
            <p:cNvSpPr/>
            <p:nvPr/>
          </p:nvSpPr>
          <p:spPr>
            <a:xfrm>
              <a:off x="4889583" y="3763791"/>
              <a:ext cx="182880" cy="18288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8</a:t>
              </a:r>
            </a:p>
          </p:txBody>
        </p:sp>
        <p:sp>
          <p:nvSpPr>
            <p:cNvPr id="99" name="TextBox 151"/>
            <p:cNvSpPr txBox="1"/>
            <p:nvPr/>
          </p:nvSpPr>
          <p:spPr>
            <a:xfrm>
              <a:off x="5008885" y="4158367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240 KM</a:t>
              </a:r>
            </a:p>
          </p:txBody>
        </p:sp>
        <p:sp>
          <p:nvSpPr>
            <p:cNvPr id="100" name="TextBox 152"/>
            <p:cNvSpPr txBox="1"/>
            <p:nvPr/>
          </p:nvSpPr>
          <p:spPr>
            <a:xfrm>
              <a:off x="4331024" y="3628347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11 KM</a:t>
              </a:r>
            </a:p>
          </p:txBody>
        </p:sp>
        <p:sp>
          <p:nvSpPr>
            <p:cNvPr id="101" name="Oval 153"/>
            <p:cNvSpPr/>
            <p:nvPr/>
          </p:nvSpPr>
          <p:spPr>
            <a:xfrm>
              <a:off x="2752751" y="6005147"/>
              <a:ext cx="182880" cy="18288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9</a:t>
              </a:r>
            </a:p>
          </p:txBody>
        </p:sp>
        <p:sp>
          <p:nvSpPr>
            <p:cNvPr id="102" name="Oval 154"/>
            <p:cNvSpPr/>
            <p:nvPr/>
          </p:nvSpPr>
          <p:spPr>
            <a:xfrm>
              <a:off x="3427367" y="6148396"/>
              <a:ext cx="182880" cy="18288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10</a:t>
              </a:r>
            </a:p>
          </p:txBody>
        </p:sp>
        <p:sp>
          <p:nvSpPr>
            <p:cNvPr id="103" name="TextBox 155"/>
            <p:cNvSpPr txBox="1"/>
            <p:nvPr/>
          </p:nvSpPr>
          <p:spPr>
            <a:xfrm>
              <a:off x="2277575" y="5774994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23 KM</a:t>
              </a:r>
            </a:p>
          </p:txBody>
        </p:sp>
        <p:sp>
          <p:nvSpPr>
            <p:cNvPr id="104" name="TextBox 156"/>
            <p:cNvSpPr txBox="1"/>
            <p:nvPr/>
          </p:nvSpPr>
          <p:spPr>
            <a:xfrm>
              <a:off x="2929573" y="6056788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83 KM</a:t>
              </a:r>
            </a:p>
          </p:txBody>
        </p:sp>
        <p:sp>
          <p:nvSpPr>
            <p:cNvPr id="105" name="TextBox 157"/>
            <p:cNvSpPr txBox="1"/>
            <p:nvPr/>
          </p:nvSpPr>
          <p:spPr>
            <a:xfrm>
              <a:off x="3566727" y="5981752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50 KM</a:t>
              </a:r>
            </a:p>
          </p:txBody>
        </p:sp>
        <p:sp>
          <p:nvSpPr>
            <p:cNvPr id="106" name="Oval 158"/>
            <p:cNvSpPr/>
            <p:nvPr/>
          </p:nvSpPr>
          <p:spPr>
            <a:xfrm>
              <a:off x="4275928" y="5810313"/>
              <a:ext cx="182880" cy="182880"/>
            </a:xfrm>
            <a:prstGeom prst="ellipse">
              <a:avLst/>
            </a:prstGeom>
            <a:solidFill>
              <a:srgbClr val="7030A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11</a:t>
              </a:r>
            </a:p>
          </p:txBody>
        </p:sp>
        <p:sp>
          <p:nvSpPr>
            <p:cNvPr id="107" name="Oval 159"/>
            <p:cNvSpPr/>
            <p:nvPr/>
          </p:nvSpPr>
          <p:spPr>
            <a:xfrm>
              <a:off x="4741737" y="4951991"/>
              <a:ext cx="182880" cy="18288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12</a:t>
              </a:r>
            </a:p>
          </p:txBody>
        </p:sp>
        <p:sp>
          <p:nvSpPr>
            <p:cNvPr id="108" name="TextBox 160"/>
            <p:cNvSpPr txBox="1"/>
            <p:nvPr/>
          </p:nvSpPr>
          <p:spPr>
            <a:xfrm>
              <a:off x="3876517" y="5329055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228 KM</a:t>
              </a:r>
            </a:p>
          </p:txBody>
        </p:sp>
        <p:sp>
          <p:nvSpPr>
            <p:cNvPr id="109" name="TextBox 161"/>
            <p:cNvSpPr txBox="1"/>
            <p:nvPr/>
          </p:nvSpPr>
          <p:spPr>
            <a:xfrm>
              <a:off x="5043400" y="4500371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227 KM</a:t>
              </a:r>
            </a:p>
          </p:txBody>
        </p:sp>
        <p:sp>
          <p:nvSpPr>
            <p:cNvPr id="110" name="Oval 163"/>
            <p:cNvSpPr/>
            <p:nvPr/>
          </p:nvSpPr>
          <p:spPr>
            <a:xfrm>
              <a:off x="6133507" y="4337357"/>
              <a:ext cx="182880" cy="182880"/>
            </a:xfrm>
            <a:prstGeom prst="ellipse">
              <a:avLst/>
            </a:prstGeom>
            <a:solidFill>
              <a:srgbClr val="0000FF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13</a:t>
              </a:r>
            </a:p>
          </p:txBody>
        </p:sp>
        <p:sp>
          <p:nvSpPr>
            <p:cNvPr id="111" name="Oval 164"/>
            <p:cNvSpPr/>
            <p:nvPr/>
          </p:nvSpPr>
          <p:spPr>
            <a:xfrm>
              <a:off x="6822040" y="4579572"/>
              <a:ext cx="182880" cy="18288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14</a:t>
              </a:r>
            </a:p>
          </p:txBody>
        </p:sp>
        <p:sp>
          <p:nvSpPr>
            <p:cNvPr id="112" name="TextBox 165"/>
            <p:cNvSpPr txBox="1"/>
            <p:nvPr/>
          </p:nvSpPr>
          <p:spPr>
            <a:xfrm>
              <a:off x="6243355" y="4655778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59 KM</a:t>
              </a:r>
            </a:p>
          </p:txBody>
        </p:sp>
        <p:sp>
          <p:nvSpPr>
            <p:cNvPr id="113" name="TextBox 166"/>
            <p:cNvSpPr txBox="1"/>
            <p:nvPr/>
          </p:nvSpPr>
          <p:spPr>
            <a:xfrm>
              <a:off x="6641628" y="4039456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75 KM</a:t>
              </a:r>
            </a:p>
          </p:txBody>
        </p:sp>
        <p:sp>
          <p:nvSpPr>
            <p:cNvPr id="114" name="Oval 167"/>
            <p:cNvSpPr/>
            <p:nvPr/>
          </p:nvSpPr>
          <p:spPr>
            <a:xfrm>
              <a:off x="6770716" y="3684744"/>
              <a:ext cx="182880" cy="182880"/>
            </a:xfrm>
            <a:prstGeom prst="ellipse">
              <a:avLst/>
            </a:prstGeom>
            <a:solidFill>
              <a:srgbClr val="0000FF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15</a:t>
              </a:r>
            </a:p>
          </p:txBody>
        </p:sp>
        <p:sp>
          <p:nvSpPr>
            <p:cNvPr id="115" name="TextBox 169"/>
            <p:cNvSpPr txBox="1"/>
            <p:nvPr/>
          </p:nvSpPr>
          <p:spPr>
            <a:xfrm>
              <a:off x="7101037" y="3378208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83 KM</a:t>
              </a:r>
            </a:p>
          </p:txBody>
        </p:sp>
        <p:sp>
          <p:nvSpPr>
            <p:cNvPr id="116" name="Oval 170"/>
            <p:cNvSpPr/>
            <p:nvPr/>
          </p:nvSpPr>
          <p:spPr>
            <a:xfrm>
              <a:off x="7622079" y="2987669"/>
              <a:ext cx="182880" cy="182880"/>
            </a:xfrm>
            <a:prstGeom prst="ellipse">
              <a:avLst/>
            </a:prstGeom>
            <a:solidFill>
              <a:srgbClr val="0000FF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16</a:t>
              </a:r>
            </a:p>
          </p:txBody>
        </p:sp>
        <p:sp>
          <p:nvSpPr>
            <p:cNvPr id="117" name="Oval 171"/>
            <p:cNvSpPr/>
            <p:nvPr/>
          </p:nvSpPr>
          <p:spPr>
            <a:xfrm>
              <a:off x="7967544" y="2303301"/>
              <a:ext cx="182880" cy="182880"/>
            </a:xfrm>
            <a:prstGeom prst="ellipse">
              <a:avLst/>
            </a:prstGeom>
            <a:solidFill>
              <a:srgbClr val="00B05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17</a:t>
              </a:r>
            </a:p>
          </p:txBody>
        </p:sp>
        <p:sp>
          <p:nvSpPr>
            <p:cNvPr id="118" name="TextBox 172"/>
            <p:cNvSpPr txBox="1"/>
            <p:nvPr/>
          </p:nvSpPr>
          <p:spPr>
            <a:xfrm>
              <a:off x="7674352" y="2614468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72 KM</a:t>
              </a:r>
            </a:p>
          </p:txBody>
        </p:sp>
        <p:sp>
          <p:nvSpPr>
            <p:cNvPr id="119" name="TextBox 173"/>
            <p:cNvSpPr txBox="1"/>
            <p:nvPr/>
          </p:nvSpPr>
          <p:spPr>
            <a:xfrm>
              <a:off x="8375048" y="2113910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80 KM</a:t>
              </a:r>
            </a:p>
          </p:txBody>
        </p:sp>
        <p:sp>
          <p:nvSpPr>
            <p:cNvPr id="120" name="Oval 174"/>
            <p:cNvSpPr/>
            <p:nvPr/>
          </p:nvSpPr>
          <p:spPr>
            <a:xfrm>
              <a:off x="9081547" y="2240683"/>
              <a:ext cx="182880" cy="182880"/>
            </a:xfrm>
            <a:prstGeom prst="ellipse">
              <a:avLst/>
            </a:prstGeom>
            <a:solidFill>
              <a:srgbClr val="0000FF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18</a:t>
              </a:r>
            </a:p>
          </p:txBody>
        </p:sp>
        <p:sp>
          <p:nvSpPr>
            <p:cNvPr id="121" name="TextBox 140"/>
            <p:cNvSpPr txBox="1"/>
            <p:nvPr/>
          </p:nvSpPr>
          <p:spPr>
            <a:xfrm>
              <a:off x="8880968" y="1892203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56KM</a:t>
              </a:r>
            </a:p>
          </p:txBody>
        </p:sp>
        <p:sp>
          <p:nvSpPr>
            <p:cNvPr id="122" name="Oval 141"/>
            <p:cNvSpPr/>
            <p:nvPr/>
          </p:nvSpPr>
          <p:spPr>
            <a:xfrm>
              <a:off x="9296605" y="1638655"/>
              <a:ext cx="182880" cy="182880"/>
            </a:xfrm>
            <a:prstGeom prst="ellipse">
              <a:avLst/>
            </a:prstGeom>
            <a:solidFill>
              <a:srgbClr val="7030A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19</a:t>
              </a:r>
            </a:p>
          </p:txBody>
        </p:sp>
        <p:sp>
          <p:nvSpPr>
            <p:cNvPr id="123" name="Oval 142"/>
            <p:cNvSpPr/>
            <p:nvPr/>
          </p:nvSpPr>
          <p:spPr>
            <a:xfrm>
              <a:off x="2954949" y="4991855"/>
              <a:ext cx="182880" cy="182880"/>
            </a:xfrm>
            <a:prstGeom prst="ellipse">
              <a:avLst/>
            </a:prstGeom>
            <a:solidFill>
              <a:srgbClr val="C00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20</a:t>
              </a:r>
            </a:p>
          </p:txBody>
        </p:sp>
        <p:sp>
          <p:nvSpPr>
            <p:cNvPr id="124" name="TextBox 181"/>
            <p:cNvSpPr txBox="1"/>
            <p:nvPr/>
          </p:nvSpPr>
          <p:spPr>
            <a:xfrm>
              <a:off x="2790859" y="5216064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180 KM</a:t>
              </a:r>
            </a:p>
          </p:txBody>
        </p:sp>
        <p:sp>
          <p:nvSpPr>
            <p:cNvPr id="125" name="TextBox 182"/>
            <p:cNvSpPr txBox="1"/>
            <p:nvPr/>
          </p:nvSpPr>
          <p:spPr>
            <a:xfrm>
              <a:off x="2893548" y="4326628"/>
              <a:ext cx="57331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800" b="1" dirty="0">
                  <a:solidFill>
                    <a:prstClr val="black"/>
                  </a:solidFill>
                  <a:latin typeface="Calibri"/>
                </a:rPr>
                <a:t>309 KM</a:t>
              </a:r>
            </a:p>
          </p:txBody>
        </p:sp>
        <p:sp>
          <p:nvSpPr>
            <p:cNvPr id="126" name="Oval 183"/>
            <p:cNvSpPr/>
            <p:nvPr/>
          </p:nvSpPr>
          <p:spPr>
            <a:xfrm>
              <a:off x="2823079" y="4005151"/>
              <a:ext cx="182880" cy="182880"/>
            </a:xfrm>
            <a:prstGeom prst="ellipse">
              <a:avLst/>
            </a:prstGeom>
            <a:solidFill>
              <a:srgbClr val="7030A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6</a:t>
              </a:r>
            </a:p>
          </p:txBody>
        </p:sp>
        <p:sp>
          <p:nvSpPr>
            <p:cNvPr id="127" name="Freeform 28"/>
            <p:cNvSpPr/>
            <p:nvPr/>
          </p:nvSpPr>
          <p:spPr>
            <a:xfrm>
              <a:off x="4044918" y="6187895"/>
              <a:ext cx="83127" cy="149629"/>
            </a:xfrm>
            <a:custGeom>
              <a:avLst/>
              <a:gdLst>
                <a:gd name="connsiteX0" fmla="*/ 0 w 62345"/>
                <a:gd name="connsiteY0" fmla="*/ 0 h 112222"/>
                <a:gd name="connsiteX1" fmla="*/ 20782 w 62345"/>
                <a:gd name="connsiteY1" fmla="*/ 8313 h 112222"/>
                <a:gd name="connsiteX2" fmla="*/ 41564 w 62345"/>
                <a:gd name="connsiteY2" fmla="*/ 45720 h 112222"/>
                <a:gd name="connsiteX3" fmla="*/ 54033 w 62345"/>
                <a:gd name="connsiteY3" fmla="*/ 99753 h 112222"/>
                <a:gd name="connsiteX4" fmla="*/ 62345 w 62345"/>
                <a:gd name="connsiteY4" fmla="*/ 112222 h 112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345" h="112222">
                  <a:moveTo>
                    <a:pt x="0" y="0"/>
                  </a:moveTo>
                  <a:cubicBezTo>
                    <a:pt x="6927" y="2771"/>
                    <a:pt x="15206" y="3356"/>
                    <a:pt x="20782" y="8313"/>
                  </a:cubicBezTo>
                  <a:cubicBezTo>
                    <a:pt x="34320" y="20347"/>
                    <a:pt x="36667" y="31031"/>
                    <a:pt x="41564" y="45720"/>
                  </a:cubicBezTo>
                  <a:cubicBezTo>
                    <a:pt x="43480" y="59136"/>
                    <a:pt x="45734" y="87303"/>
                    <a:pt x="54033" y="99753"/>
                  </a:cubicBezTo>
                  <a:lnTo>
                    <a:pt x="62345" y="112222"/>
                  </a:lnTo>
                </a:path>
              </a:pathLst>
            </a:cu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endParaRPr lang="en-US" sz="2400" kern="0">
                <a:solidFill>
                  <a:prstClr val="white"/>
                </a:solidFill>
                <a:latin typeface="Arial" panose="020B0604020202020204"/>
              </a:endParaRPr>
            </a:p>
          </p:txBody>
        </p:sp>
        <p:sp>
          <p:nvSpPr>
            <p:cNvPr id="128" name="Isosceles Triangle 177"/>
            <p:cNvSpPr/>
            <p:nvPr/>
          </p:nvSpPr>
          <p:spPr>
            <a:xfrm>
              <a:off x="9195472" y="1796540"/>
              <a:ext cx="229235" cy="193363"/>
            </a:xfrm>
            <a:prstGeom prst="triangle">
              <a:avLst/>
            </a:prstGeom>
            <a:solidFill>
              <a:srgbClr val="F79646">
                <a:lumMod val="5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1219170">
                <a:defRPr/>
              </a:pPr>
              <a:r>
                <a:rPr lang="en-US" sz="1067" kern="0" dirty="0">
                  <a:solidFill>
                    <a:prstClr val="white"/>
                  </a:solidFill>
                  <a:latin typeface="Calibri"/>
                </a:rPr>
                <a:t>10</a:t>
              </a:r>
            </a:p>
          </p:txBody>
        </p:sp>
        <p:sp>
          <p:nvSpPr>
            <p:cNvPr id="129" name="Oval 186"/>
            <p:cNvSpPr/>
            <p:nvPr/>
          </p:nvSpPr>
          <p:spPr>
            <a:xfrm>
              <a:off x="1924745" y="5710063"/>
              <a:ext cx="182880" cy="182880"/>
            </a:xfrm>
            <a:prstGeom prst="ellipse">
              <a:avLst/>
            </a:prstGeom>
            <a:solidFill>
              <a:srgbClr val="0000FF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white"/>
                  </a:solidFill>
                  <a:latin typeface="Arial" panose="020B0604020202020204"/>
                </a:rPr>
                <a:t>25</a:t>
              </a:r>
            </a:p>
          </p:txBody>
        </p:sp>
        <p:sp>
          <p:nvSpPr>
            <p:cNvPr id="130" name="Oval 198"/>
            <p:cNvSpPr/>
            <p:nvPr/>
          </p:nvSpPr>
          <p:spPr>
            <a:xfrm>
              <a:off x="4301524" y="5915627"/>
              <a:ext cx="182880" cy="182880"/>
            </a:xfrm>
            <a:prstGeom prst="ellipse">
              <a:avLst/>
            </a:prstGeom>
            <a:solidFill>
              <a:srgbClr val="FFC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wrap="none" rtlCol="0" anchor="ctr"/>
            <a:lstStyle/>
            <a:p>
              <a:pPr algn="ctr" defTabSz="1219170">
                <a:defRPr/>
              </a:pPr>
              <a:r>
                <a:rPr lang="en-US" sz="933" b="1" kern="0" dirty="0">
                  <a:solidFill>
                    <a:prstClr val="black"/>
                  </a:solidFill>
                  <a:latin typeface="Arial" panose="020B0604020202020204"/>
                </a:rPr>
                <a:t>28</a:t>
              </a:r>
            </a:p>
          </p:txBody>
        </p:sp>
      </p:grp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ransit Alliierter – Defender Europe 20</a:t>
            </a:r>
            <a:endParaRPr lang="de-DE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2243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ransit Alliierter – Defender Europe 20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891" y="5600603"/>
            <a:ext cx="12192000" cy="1016000"/>
          </a:xfrm>
          <a:prstGeom prst="rect">
            <a:avLst/>
          </a:prstGeom>
          <a:ln>
            <a:noFill/>
          </a:ln>
        </p:spPr>
      </p:pic>
      <p:sp>
        <p:nvSpPr>
          <p:cNvPr id="7" name="Rechteck 6"/>
          <p:cNvSpPr/>
          <p:nvPr/>
        </p:nvSpPr>
        <p:spPr>
          <a:xfrm>
            <a:off x="211125" y="1507928"/>
            <a:ext cx="5400000" cy="2708434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txBody>
          <a:bodyPr wrap="square" lIns="90000" rIns="0" anchor="ctr">
            <a:noAutofit/>
          </a:bodyPr>
          <a:lstStyle/>
          <a:p>
            <a:pPr marL="54000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E7203"/>
              </a:buClr>
              <a:buSzTx/>
              <a:buFontTx/>
              <a:buNone/>
              <a:tabLst/>
              <a:defRPr/>
            </a:pPr>
            <a:r>
              <a:rPr kumimoji="0" lang="de-DE" sz="18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7.000 Teilnehmer aus 18 Nationen</a:t>
            </a:r>
          </a:p>
          <a:p>
            <a:pPr marL="54000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E7203"/>
              </a:buClr>
              <a:buSzTx/>
              <a:buFontTx/>
              <a:buNone/>
              <a:tabLst/>
              <a:defRPr/>
            </a:pPr>
            <a:r>
              <a:rPr kumimoji="0" lang="de-DE" sz="18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.000 US-Kräfte kommend aus USA</a:t>
            </a:r>
          </a:p>
          <a:p>
            <a:pPr marL="54000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E7203"/>
              </a:buClr>
              <a:buSzTx/>
              <a:buFontTx/>
              <a:buNone/>
              <a:tabLst/>
              <a:defRPr/>
            </a:pPr>
            <a:r>
              <a:rPr kumimoji="0" lang="de-DE" sz="18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9.000 US-Kräfte aus Europa</a:t>
            </a:r>
          </a:p>
          <a:p>
            <a:pPr marL="54000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E7203"/>
              </a:buClr>
              <a:buSzTx/>
              <a:buFontTx/>
              <a:buNone/>
              <a:tabLst/>
              <a:defRPr/>
            </a:pPr>
            <a:r>
              <a:rPr kumimoji="0" lang="de-DE" sz="18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8.000 alliierte Kräfte aus Europa</a:t>
            </a:r>
            <a:endParaRPr kumimoji="0" lang="de-DE" sz="1600" b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6327862" y="1500278"/>
            <a:ext cx="5400000" cy="2716084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txBody>
          <a:bodyPr wrap="square" lIns="90000" rIns="0" anchor="ctr">
            <a:noAutofit/>
          </a:bodyPr>
          <a:lstStyle/>
          <a:p>
            <a:pPr marL="54000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E7203"/>
              </a:buClr>
              <a:buSzTx/>
              <a:buFontTx/>
              <a:buNone/>
              <a:tabLst/>
              <a:defRPr/>
            </a:pPr>
            <a:r>
              <a:rPr kumimoji="0" lang="de-DE" sz="18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.000 Ladungsstücke kommend aus USA</a:t>
            </a:r>
          </a:p>
          <a:p>
            <a:pPr marL="54000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E7203"/>
              </a:buClr>
              <a:buSzTx/>
              <a:buFontTx/>
              <a:buNone/>
              <a:tabLst/>
              <a:defRPr/>
            </a:pPr>
            <a:r>
              <a:rPr kumimoji="0" lang="de-DE" sz="18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.000 Ladungsstücke aus EUR Depots</a:t>
            </a:r>
          </a:p>
          <a:p>
            <a:pPr marL="54000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E7203"/>
              </a:buClr>
              <a:buSzTx/>
              <a:buFontTx/>
              <a:buNone/>
              <a:tabLst/>
              <a:defRPr/>
            </a:pPr>
            <a:r>
              <a:rPr kumimoji="0" lang="de-DE" sz="18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4.000 km Wegstrecke</a:t>
            </a:r>
          </a:p>
          <a:p>
            <a:pPr marL="54000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EE7203"/>
              </a:buClr>
              <a:buSzTx/>
              <a:buFontTx/>
              <a:buNone/>
              <a:tabLst/>
              <a:defRPr/>
            </a:pPr>
            <a:r>
              <a:rPr kumimoji="0" lang="de-DE" sz="18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 Konvoi-Routen</a:t>
            </a:r>
            <a:endParaRPr kumimoji="0" lang="de-DE" sz="1600" b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6547" y="2337186"/>
            <a:ext cx="1705894" cy="1615958"/>
          </a:xfrm>
          <a:prstGeom prst="rect">
            <a:avLst/>
          </a:prstGeom>
        </p:spPr>
      </p:pic>
      <p:sp>
        <p:nvSpPr>
          <p:cNvPr id="12" name="Rechteck 11"/>
          <p:cNvSpPr/>
          <p:nvPr/>
        </p:nvSpPr>
        <p:spPr>
          <a:xfrm>
            <a:off x="211125" y="4618348"/>
            <a:ext cx="11516737" cy="51701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>
            <a:noFill/>
            <a:headEnd/>
            <a:tailEnd/>
          </a:ln>
          <a:effectLst/>
          <a:scene3d>
            <a:camera prst="orthographicFront"/>
            <a:lightRig rig="threePt" dir="t">
              <a:rot lat="0" lon="0" rev="1200000"/>
            </a:lightRig>
          </a:scene3d>
          <a:sp3d/>
        </p:spPr>
        <p:txBody>
          <a:bodyPr wrap="square" lIns="90000" r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EE7203"/>
              </a:buClr>
              <a:buSzTx/>
              <a:buFontTx/>
              <a:buNone/>
              <a:tabLst/>
              <a:defRPr/>
            </a:pPr>
            <a:r>
              <a:rPr lang="de-DE" sz="2400" b="1" kern="0" dirty="0">
                <a:solidFill>
                  <a:prstClr val="black"/>
                </a:solidFill>
                <a:latin typeface="Arial"/>
              </a:rPr>
              <a:t>Zeitraum Februar bis Mai 2020</a:t>
            </a:r>
          </a:p>
        </p:txBody>
      </p:sp>
    </p:spTree>
    <p:extLst>
      <p:ext uri="{BB962C8B-B14F-4D97-AF65-F5344CB8AC3E}">
        <p14:creationId xmlns:p14="http://schemas.microsoft.com/office/powerpoint/2010/main" val="440811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80664" y="58123"/>
            <a:ext cx="9627701" cy="7717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 anchor="b" anchorCtr="0"/>
          <a:lstStyle/>
          <a:p>
            <a:r>
              <a:rPr lang="de-DE"/>
              <a:t>Die Bundeswehr – Einordnung der Streitkräftebasis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10C978C-2A2F-7048-AE80-F533E2FBD28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3624" y="4159679"/>
            <a:ext cx="876411" cy="87641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695A745-9D7D-644B-843F-F81332D81F2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5514" y="4159676"/>
            <a:ext cx="876411" cy="87641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36B1E77-DAA6-C34C-9C0C-366BB7924B2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7136" y="4159677"/>
            <a:ext cx="876411" cy="87641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B9C9C93-AB14-1245-837F-F05395D7DCE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8758" y="4159678"/>
            <a:ext cx="876411" cy="87641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F8B88009-D182-E247-8B79-F155BD509F9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0380" y="4159679"/>
            <a:ext cx="876411" cy="87641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933A39FB-555D-C247-AD9A-3F3B086CAFF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2002" y="4159679"/>
            <a:ext cx="876411" cy="87641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CA7A8DC-EBCE-784D-80A6-0B72D794580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5246" y="4012065"/>
            <a:ext cx="876411" cy="87641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7210D00-5E08-8C41-B0D6-691059DDBDF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5245" y="5137580"/>
            <a:ext cx="876411" cy="87641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E10A236B-5D48-EE4C-BC83-C893BE30056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5247" y="2886550"/>
            <a:ext cx="876411" cy="87641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4515" y="1297438"/>
            <a:ext cx="1631999" cy="1198726"/>
          </a:xfrm>
          <a:prstGeom prst="rect">
            <a:avLst/>
          </a:prstGeom>
        </p:spPr>
      </p:pic>
      <p:pic>
        <p:nvPicPr>
          <p:cNvPr id="16" name="Picture 2" descr="https://www.bmvg.de/resource/image/7354/landscape_ratio16x9/3200/1800/1c0b57baa512a7fa21a94d4dbe980de2/bg/fallback-social-media.jpg"/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65494" y="2722911"/>
            <a:ext cx="874800" cy="87391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Gewinkelter Verbinder 16"/>
          <p:cNvCxnSpPr>
            <a:stCxn id="16" idx="2"/>
            <a:endCxn id="7" idx="0"/>
          </p:cNvCxnSpPr>
          <p:nvPr/>
        </p:nvCxnSpPr>
        <p:spPr>
          <a:xfrm rot="5400000">
            <a:off x="3646884" y="1703666"/>
            <a:ext cx="562846" cy="434917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winkelter Verbinder 17"/>
          <p:cNvCxnSpPr>
            <a:stCxn id="16" idx="2"/>
            <a:endCxn id="8" idx="0"/>
          </p:cNvCxnSpPr>
          <p:nvPr/>
        </p:nvCxnSpPr>
        <p:spPr>
          <a:xfrm rot="5400000">
            <a:off x="4372695" y="2429477"/>
            <a:ext cx="562847" cy="2897552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winkelter Verbinder 18"/>
          <p:cNvCxnSpPr>
            <a:stCxn id="16" idx="2"/>
            <a:endCxn id="9" idx="0"/>
          </p:cNvCxnSpPr>
          <p:nvPr/>
        </p:nvCxnSpPr>
        <p:spPr>
          <a:xfrm rot="5400000">
            <a:off x="5098505" y="3155289"/>
            <a:ext cx="562848" cy="144593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r Verbinder 19"/>
          <p:cNvCxnSpPr/>
          <p:nvPr/>
        </p:nvCxnSpPr>
        <p:spPr>
          <a:xfrm rot="16200000" flipH="1">
            <a:off x="5811616" y="3875408"/>
            <a:ext cx="562849" cy="5692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r Verbinder 20"/>
          <p:cNvCxnSpPr>
            <a:stCxn id="16" idx="2"/>
            <a:endCxn id="11" idx="0"/>
          </p:cNvCxnSpPr>
          <p:nvPr/>
        </p:nvCxnSpPr>
        <p:spPr>
          <a:xfrm rot="16200000" flipH="1">
            <a:off x="6550127" y="3149597"/>
            <a:ext cx="562849" cy="1457314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r Verbinder 21"/>
          <p:cNvCxnSpPr>
            <a:stCxn id="16" idx="2"/>
            <a:endCxn id="6" idx="0"/>
          </p:cNvCxnSpPr>
          <p:nvPr/>
        </p:nvCxnSpPr>
        <p:spPr>
          <a:xfrm rot="16200000" flipH="1">
            <a:off x="7275938" y="2423786"/>
            <a:ext cx="562849" cy="2908936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winkelter Verbinder 22"/>
          <p:cNvCxnSpPr>
            <a:stCxn id="16" idx="2"/>
            <a:endCxn id="14" idx="1"/>
          </p:cNvCxnSpPr>
          <p:nvPr/>
        </p:nvCxnSpPr>
        <p:spPr>
          <a:xfrm rot="5400000" flipH="1" flipV="1">
            <a:off x="7928033" y="1499616"/>
            <a:ext cx="272074" cy="3922353"/>
          </a:xfrm>
          <a:prstGeom prst="bentConnector4">
            <a:avLst>
              <a:gd name="adj1" fmla="val -102693"/>
              <a:gd name="adj2" fmla="val 91516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winkelter Verbinder 23"/>
          <p:cNvCxnSpPr>
            <a:endCxn id="13" idx="1"/>
          </p:cNvCxnSpPr>
          <p:nvPr/>
        </p:nvCxnSpPr>
        <p:spPr>
          <a:xfrm rot="16200000" flipH="1">
            <a:off x="9008905" y="4559446"/>
            <a:ext cx="1697534" cy="335145"/>
          </a:xfrm>
          <a:prstGeom prst="bentConnector2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>
            <a:endCxn id="12" idx="1"/>
          </p:cNvCxnSpPr>
          <p:nvPr/>
        </p:nvCxnSpPr>
        <p:spPr>
          <a:xfrm>
            <a:off x="9690099" y="4450270"/>
            <a:ext cx="335147" cy="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/>
          <p:cNvSpPr txBox="1"/>
          <p:nvPr/>
        </p:nvSpPr>
        <p:spPr>
          <a:xfrm>
            <a:off x="352295" y="6640312"/>
            <a:ext cx="1440000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itkräftebasis</a:t>
            </a:r>
          </a:p>
        </p:txBody>
      </p:sp>
      <p:sp>
        <p:nvSpPr>
          <p:cNvPr id="27" name="Rechteck 26"/>
          <p:cNvSpPr/>
          <p:nvPr/>
        </p:nvSpPr>
        <p:spPr>
          <a:xfrm>
            <a:off x="5079916" y="5221580"/>
            <a:ext cx="2020556" cy="1200329"/>
          </a:xfrm>
          <a:prstGeom prst="rect">
            <a:avLst/>
          </a:prstGeom>
          <a:solidFill>
            <a:srgbClr val="DB7700"/>
          </a:solidFill>
          <a:ln w="19050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52500" algn="l"/>
              </a:tabLst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sammen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52500" algn="l"/>
              </a:tabLst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5.800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</a:t>
            </a: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52500" algn="l"/>
              </a:tabLst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.600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Ziv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52500" algn="l"/>
              </a:tabLst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.000</a:t>
            </a: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DL</a:t>
            </a:r>
          </a:p>
        </p:txBody>
      </p:sp>
    </p:spTree>
    <p:extLst>
      <p:ext uri="{BB962C8B-B14F-4D97-AF65-F5344CB8AC3E}">
        <p14:creationId xmlns:p14="http://schemas.microsoft.com/office/powerpoint/2010/main" val="1290122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FEnder</a:t>
            </a:r>
            <a:r>
              <a:rPr lang="de-DE" dirty="0"/>
              <a:t> Europe 20 – Phasen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1182077" y="5332094"/>
            <a:ext cx="9606767" cy="169343"/>
            <a:chOff x="1753985" y="6301130"/>
            <a:chExt cx="9606767" cy="169342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7" name="Rechteck 6"/>
            <p:cNvSpPr/>
            <p:nvPr/>
          </p:nvSpPr>
          <p:spPr>
            <a:xfrm>
              <a:off x="1753985" y="6301130"/>
              <a:ext cx="1202776" cy="169342"/>
            </a:xfrm>
            <a:prstGeom prst="rect">
              <a:avLst/>
            </a:prstGeom>
            <a:grp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6D6DE">
                      <a:lumMod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z</a:t>
              </a:r>
            </a:p>
          </p:txBody>
        </p:sp>
        <p:sp>
          <p:nvSpPr>
            <p:cNvPr id="8" name="Rechteck 7"/>
            <p:cNvSpPr/>
            <p:nvPr/>
          </p:nvSpPr>
          <p:spPr>
            <a:xfrm>
              <a:off x="2954555" y="6301130"/>
              <a:ext cx="1202776" cy="169342"/>
            </a:xfrm>
            <a:prstGeom prst="rect">
              <a:avLst/>
            </a:prstGeom>
            <a:grp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6D6DE">
                      <a:lumMod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an</a:t>
              </a:r>
            </a:p>
          </p:txBody>
        </p:sp>
        <p:sp>
          <p:nvSpPr>
            <p:cNvPr id="9" name="Rechteck 8"/>
            <p:cNvSpPr/>
            <p:nvPr/>
          </p:nvSpPr>
          <p:spPr>
            <a:xfrm>
              <a:off x="4155125" y="6301130"/>
              <a:ext cx="1202776" cy="169342"/>
            </a:xfrm>
            <a:prstGeom prst="rect">
              <a:avLst/>
            </a:prstGeom>
            <a:grp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6D6DE">
                      <a:lumMod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eb</a:t>
              </a:r>
            </a:p>
          </p:txBody>
        </p:sp>
        <p:sp>
          <p:nvSpPr>
            <p:cNvPr id="10" name="Rechteck 9"/>
            <p:cNvSpPr/>
            <p:nvPr/>
          </p:nvSpPr>
          <p:spPr>
            <a:xfrm>
              <a:off x="5355695" y="6301130"/>
              <a:ext cx="1202776" cy="169342"/>
            </a:xfrm>
            <a:prstGeom prst="rect">
              <a:avLst/>
            </a:prstGeom>
            <a:grp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C6D6DE">
                      <a:lumMod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rz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C6D6DE">
                    <a:lumMod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6556265" y="6301130"/>
              <a:ext cx="1202776" cy="169342"/>
            </a:xfrm>
            <a:prstGeom prst="rect">
              <a:avLst/>
            </a:prstGeom>
            <a:grp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6D6DE">
                      <a:lumMod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r</a:t>
              </a:r>
            </a:p>
          </p:txBody>
        </p:sp>
        <p:sp>
          <p:nvSpPr>
            <p:cNvPr id="12" name="Rechteck 11"/>
            <p:cNvSpPr/>
            <p:nvPr/>
          </p:nvSpPr>
          <p:spPr>
            <a:xfrm>
              <a:off x="7756835" y="6301130"/>
              <a:ext cx="1202776" cy="169342"/>
            </a:xfrm>
            <a:prstGeom prst="rect">
              <a:avLst/>
            </a:prstGeom>
            <a:grp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6D6DE">
                      <a:lumMod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i</a:t>
              </a:r>
            </a:p>
          </p:txBody>
        </p:sp>
        <p:sp>
          <p:nvSpPr>
            <p:cNvPr id="13" name="Rechteck 12"/>
            <p:cNvSpPr/>
            <p:nvPr/>
          </p:nvSpPr>
          <p:spPr>
            <a:xfrm>
              <a:off x="8957405" y="6301130"/>
              <a:ext cx="1202776" cy="169342"/>
            </a:xfrm>
            <a:prstGeom prst="rect">
              <a:avLst/>
            </a:prstGeom>
            <a:grp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6D6DE">
                      <a:lumMod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un</a:t>
              </a:r>
            </a:p>
          </p:txBody>
        </p:sp>
        <p:sp>
          <p:nvSpPr>
            <p:cNvPr id="14" name="Rechteck 13"/>
            <p:cNvSpPr/>
            <p:nvPr/>
          </p:nvSpPr>
          <p:spPr>
            <a:xfrm>
              <a:off x="10157976" y="6301130"/>
              <a:ext cx="1202776" cy="169342"/>
            </a:xfrm>
            <a:prstGeom prst="rect">
              <a:avLst/>
            </a:prstGeom>
            <a:grpFill/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C6D6DE">
                      <a:lumMod val="2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Jul</a:t>
              </a:r>
            </a:p>
          </p:txBody>
        </p:sp>
      </p:grpSp>
      <p:sp>
        <p:nvSpPr>
          <p:cNvPr id="15" name="Rechteck 14"/>
          <p:cNvSpPr/>
          <p:nvPr/>
        </p:nvSpPr>
        <p:spPr>
          <a:xfrm>
            <a:off x="3405281" y="5103638"/>
            <a:ext cx="3972647" cy="19648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legung</a:t>
            </a:r>
          </a:p>
        </p:txBody>
      </p:sp>
      <p:sp>
        <p:nvSpPr>
          <p:cNvPr id="16" name="Rechteck 15"/>
          <p:cNvSpPr/>
          <p:nvPr/>
        </p:nvSpPr>
        <p:spPr>
          <a:xfrm>
            <a:off x="8195981" y="5103261"/>
            <a:ext cx="2592863" cy="19486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A6B8C3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ückverlegung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17300" y="4866488"/>
            <a:ext cx="1388903" cy="200201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VEX</a:t>
            </a:r>
          </a:p>
        </p:txBody>
      </p:sp>
      <p:sp>
        <p:nvSpPr>
          <p:cNvPr id="18" name="Rechteck 17"/>
          <p:cNvSpPr/>
          <p:nvPr/>
        </p:nvSpPr>
        <p:spPr>
          <a:xfrm>
            <a:off x="7329506" y="5100901"/>
            <a:ext cx="866475" cy="1972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PX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10209125" y="6053299"/>
            <a:ext cx="1982875" cy="550297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marL="0" marR="0" lvl="0" indent="0" algn="l" defTabSz="3571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VEX	Übung mit Volltruppe</a:t>
            </a:r>
          </a:p>
          <a:p>
            <a:pPr marL="0" marR="0" lvl="0" indent="0" algn="l" defTabSz="3571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PX		Stabsrahmenübung/</a:t>
            </a:r>
          </a:p>
          <a:p>
            <a:pPr marL="0" marR="0" lvl="0" indent="0" algn="l" defTabSz="3571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	Gefechtsstandübung</a:t>
            </a:r>
          </a:p>
        </p:txBody>
      </p:sp>
      <p:sp>
        <p:nvSpPr>
          <p:cNvPr id="23" name="Legende mit Pfeil nach oben 22"/>
          <p:cNvSpPr/>
          <p:nvPr/>
        </p:nvSpPr>
        <p:spPr>
          <a:xfrm>
            <a:off x="5229642" y="5452499"/>
            <a:ext cx="3560675" cy="1069071"/>
          </a:xfrm>
          <a:prstGeom prst="upArrowCallou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obachtung 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m. Wiener Dokument (freiwillig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 Tage im Zeitfenster 20. - 26. April 2020 BERGEN</a:t>
            </a:r>
          </a:p>
        </p:txBody>
      </p:sp>
      <p:pic>
        <p:nvPicPr>
          <p:cNvPr id="24" name="Grafik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52" y="1058019"/>
            <a:ext cx="2521675" cy="1680066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010"/>
          <a:stretch/>
        </p:blipFill>
        <p:spPr>
          <a:xfrm>
            <a:off x="1636730" y="2015873"/>
            <a:ext cx="2521675" cy="1683015"/>
          </a:xfrm>
          <a:prstGeom prst="rect">
            <a:avLst/>
          </a:prstGeom>
        </p:spPr>
      </p:pic>
      <p:sp>
        <p:nvSpPr>
          <p:cNvPr id="26" name="Rechteck 25"/>
          <p:cNvSpPr/>
          <p:nvPr/>
        </p:nvSpPr>
        <p:spPr>
          <a:xfrm>
            <a:off x="4651306" y="1249414"/>
            <a:ext cx="5356399" cy="10772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ase 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legu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n - Apr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ab 22. Jan Verlegung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 Arial"/>
                <a:ea typeface="+mn-ea"/>
                <a:cs typeface="+mn-cs"/>
              </a:rPr>
              <a:t>US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 Arial"/>
                <a:ea typeface="+mn-ea"/>
                <a:cs typeface="+mn-cs"/>
              </a:rPr>
              <a:t>Army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 Arial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 Arial"/>
                <a:ea typeface="+mn-ea"/>
                <a:cs typeface="+mn-cs"/>
              </a:rPr>
              <a:t>Pre-Positione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 Arial"/>
                <a:ea typeface="+mn-ea"/>
                <a:cs typeface="+mn-cs"/>
              </a:rPr>
              <a:t> Stocks</a:t>
            </a:r>
          </a:p>
        </p:txBody>
      </p:sp>
      <p:sp>
        <p:nvSpPr>
          <p:cNvPr id="27" name="Rechteck 26"/>
          <p:cNvSpPr/>
          <p:nvPr/>
        </p:nvSpPr>
        <p:spPr>
          <a:xfrm>
            <a:off x="5268761" y="2473706"/>
            <a:ext cx="5766389" cy="10772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ase I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rchführung =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VE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PX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/ Übungen in POL / Baltikum / GEO und DEU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. Apr - 22. Mai</a:t>
            </a:r>
          </a:p>
        </p:txBody>
      </p:sp>
      <p:sp>
        <p:nvSpPr>
          <p:cNvPr id="28" name="Rechteck 27"/>
          <p:cNvSpPr/>
          <p:nvPr/>
        </p:nvSpPr>
        <p:spPr>
          <a:xfrm>
            <a:off x="5984356" y="3697998"/>
            <a:ext cx="5875134" cy="107721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ase III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E6110C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ückverlegung &amp; Nachbereitu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 - Se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1508" y="3032234"/>
            <a:ext cx="2521675" cy="1680066"/>
          </a:xfrm>
          <a:prstGeom prst="rect">
            <a:avLst/>
          </a:prstGeom>
        </p:spPr>
      </p:pic>
      <p:sp>
        <p:nvSpPr>
          <p:cNvPr id="30" name="Textfeld 29"/>
          <p:cNvSpPr txBox="1"/>
          <p:nvPr/>
        </p:nvSpPr>
        <p:spPr>
          <a:xfrm>
            <a:off x="352295" y="6640312"/>
            <a:ext cx="1440000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itkräftebasis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10868052" y="5298126"/>
            <a:ext cx="1982875" cy="550297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marL="0" marR="0" lvl="0" indent="0" algn="l" defTabSz="3571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10868052" y="5100901"/>
            <a:ext cx="1982875" cy="550297"/>
          </a:xfrm>
          <a:prstGeom prst="rect">
            <a:avLst/>
          </a:prstGeom>
          <a:noFill/>
        </p:spPr>
        <p:txBody>
          <a:bodyPr wrap="square" lIns="0" tIns="0" rIns="0" bIns="0" numCol="1" rtlCol="0">
            <a:noAutofit/>
          </a:bodyPr>
          <a:lstStyle/>
          <a:p>
            <a:pPr marL="0" marR="0" lvl="0" indent="0" algn="l" defTabSz="35717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2216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fgaben für Deutschland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6" name="Rechteck 1"/>
          <p:cNvSpPr>
            <a:spLocks noChangeArrowheads="1"/>
          </p:cNvSpPr>
          <p:nvPr/>
        </p:nvSpPr>
        <p:spPr bwMode="auto">
          <a:xfrm>
            <a:off x="3535525" y="1031651"/>
            <a:ext cx="7593884" cy="5322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t" anchorCtr="0">
            <a:noAutofit/>
          </a:bodyPr>
          <a:lstStyle/>
          <a:p>
            <a:pPr marL="285750" marR="0" lvl="1" indent="-285750" algn="l" defTabSz="685800" rtl="0" eaLnBrk="0" fontAlgn="auto" latinLnBrk="0" hangingPunct="0">
              <a:lnSpc>
                <a:spcPct val="90000"/>
              </a:lnSpc>
              <a:spcBef>
                <a:spcPts val="375"/>
              </a:spcBef>
              <a:spcAft>
                <a:spcPts val="1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Militärische und zivile Unterstützungsleistungen</a:t>
            </a:r>
          </a:p>
          <a:p>
            <a:pPr marL="1028700" lvl="1" indent="-285750" defTabSz="685800" eaLnBrk="0" hangingPunct="0">
              <a:lnSpc>
                <a:spcPct val="90000"/>
              </a:lnSpc>
              <a:spcBef>
                <a:spcPts val="375"/>
              </a:spcBef>
              <a:buFont typeface="Wingdings" panose="05000000000000000000" pitchFamily="2" charset="2"/>
              <a:buChar char="Ø"/>
              <a:defRPr/>
            </a:pPr>
            <a:r>
              <a:rPr lang="de-DE" altLang="de-DE" b="1" kern="0" dirty="0">
                <a:solidFill>
                  <a:prstClr val="black"/>
                </a:solidFill>
                <a:latin typeface="Arial"/>
              </a:rPr>
              <a:t>Verkehrsleitung</a:t>
            </a:r>
          </a:p>
          <a:p>
            <a:pPr marL="1028700" lvl="1" indent="-285750" defTabSz="685800" eaLnBrk="0" hangingPunct="0">
              <a:lnSpc>
                <a:spcPct val="90000"/>
              </a:lnSpc>
              <a:spcBef>
                <a:spcPts val="375"/>
              </a:spcBef>
              <a:buFont typeface="Wingdings" panose="05000000000000000000" pitchFamily="2" charset="2"/>
              <a:buChar char="Ø"/>
              <a:defRPr/>
            </a:pPr>
            <a:r>
              <a:rPr lang="de-DE" altLang="de-DE" b="1" kern="0" dirty="0">
                <a:solidFill>
                  <a:prstClr val="black"/>
                </a:solidFill>
                <a:latin typeface="Arial"/>
              </a:rPr>
              <a:t>Übernachtung</a:t>
            </a:r>
          </a:p>
          <a:p>
            <a:pPr marL="1028700" lvl="1" indent="-285750" defTabSz="685800" eaLnBrk="0" hangingPunct="0">
              <a:lnSpc>
                <a:spcPct val="90000"/>
              </a:lnSpc>
              <a:spcBef>
                <a:spcPts val="375"/>
              </a:spcBef>
              <a:buFont typeface="Wingdings" panose="05000000000000000000" pitchFamily="2" charset="2"/>
              <a:buChar char="Ø"/>
              <a:defRPr/>
            </a:pPr>
            <a:r>
              <a:rPr lang="de-DE" altLang="de-DE" b="1" kern="0" dirty="0">
                <a:solidFill>
                  <a:prstClr val="black"/>
                </a:solidFill>
                <a:latin typeface="Arial"/>
              </a:rPr>
              <a:t>Verpflegung</a:t>
            </a:r>
          </a:p>
          <a:p>
            <a:pPr marL="1028700" lvl="1" indent="-285750" defTabSz="685800" eaLnBrk="0" hangingPunct="0">
              <a:lnSpc>
                <a:spcPct val="90000"/>
              </a:lnSpc>
              <a:spcBef>
                <a:spcPts val="375"/>
              </a:spcBef>
              <a:buFont typeface="Wingdings" panose="05000000000000000000" pitchFamily="2" charset="2"/>
              <a:buChar char="Ø"/>
              <a:defRPr/>
            </a:pPr>
            <a:r>
              <a:rPr lang="de-DE" altLang="de-DE" b="1" kern="0" dirty="0">
                <a:solidFill>
                  <a:prstClr val="black"/>
                </a:solidFill>
                <a:latin typeface="Arial"/>
              </a:rPr>
              <a:t>Betankung / techn. Unterstützung</a:t>
            </a:r>
          </a:p>
          <a:p>
            <a:pPr marL="1028700" lvl="1" indent="-285750" defTabSz="685800" eaLnBrk="0" hangingPunct="0">
              <a:lnSpc>
                <a:spcPct val="90000"/>
              </a:lnSpc>
              <a:spcBef>
                <a:spcPts val="375"/>
              </a:spcBef>
              <a:buFont typeface="Wingdings" panose="05000000000000000000" pitchFamily="2" charset="2"/>
              <a:buChar char="Ø"/>
              <a:defRPr/>
            </a:pPr>
            <a:r>
              <a:rPr lang="de-DE" altLang="de-DE" b="1" kern="0" dirty="0">
                <a:solidFill>
                  <a:prstClr val="black"/>
                </a:solidFill>
                <a:latin typeface="Arial"/>
              </a:rPr>
              <a:t>Betreuung</a:t>
            </a:r>
          </a:p>
          <a:p>
            <a:pPr marL="742950" lvl="1" defTabSz="685800" eaLnBrk="0" hangingPunct="0">
              <a:lnSpc>
                <a:spcPct val="90000"/>
              </a:lnSpc>
              <a:spcBef>
                <a:spcPts val="375"/>
              </a:spcBef>
              <a:defRPr/>
            </a:pPr>
            <a:endParaRPr lang="de-DE" altLang="de-DE" sz="1400" b="1" kern="0" dirty="0">
              <a:solidFill>
                <a:prstClr val="black"/>
              </a:solidFill>
              <a:latin typeface="Arial"/>
            </a:endParaRPr>
          </a:p>
          <a:p>
            <a:pPr marL="285750" lvl="0" indent="-285750" defTabSz="685800" eaLnBrk="0" hangingPunct="0">
              <a:lnSpc>
                <a:spcPct val="90000"/>
              </a:lnSpc>
              <a:spcAft>
                <a:spcPts val="1300"/>
              </a:spcAft>
              <a:buFont typeface="Arial" panose="020B0604020202020204" pitchFamily="34" charset="0"/>
              <a:buChar char="•"/>
              <a:defRPr/>
            </a:pPr>
            <a:r>
              <a:rPr lang="de-DE" altLang="de-DE" sz="2000" b="1" kern="0" dirty="0">
                <a:solidFill>
                  <a:prstClr val="black"/>
                </a:solidFill>
              </a:rPr>
              <a:t>Bundeswehr ist erster Ansprechpartner</a:t>
            </a:r>
            <a:endParaRPr kumimoji="0" lang="de-DE" altLang="de-DE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285750" marR="0" lvl="1" indent="-285750" algn="l" defTabSz="685800" rtl="0" eaLnBrk="0" fontAlgn="auto" latinLnBrk="0" hangingPunct="0">
              <a:lnSpc>
                <a:spcPct val="90000"/>
              </a:lnSpc>
              <a:spcBef>
                <a:spcPts val="375"/>
              </a:spcBef>
              <a:spcAft>
                <a:spcPts val="1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Leistungserbringer</a:t>
            </a:r>
          </a:p>
          <a:p>
            <a:pPr marL="1028700" marR="0" lvl="1" indent="-285750" algn="l" defTabSz="685800" rtl="0" eaLnBrk="0" fontAlgn="auto" latinLnBrk="0" hangingPunct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Behörden</a:t>
            </a:r>
          </a:p>
          <a:p>
            <a:pPr marL="1028700" marR="0" lvl="1" indent="-285750" algn="l" defTabSz="685800" rtl="0" eaLnBrk="0" fontAlgn="auto" latinLnBrk="0" hangingPunct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Gewerbliche Wirtschaft</a:t>
            </a:r>
          </a:p>
          <a:p>
            <a:pPr marL="1028700" marR="0" lvl="1" indent="-285750" algn="l" defTabSz="685800" rtl="0" eaLnBrk="0" fontAlgn="auto" latinLnBrk="0" hangingPunct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altLang="de-DE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Bundeswehr</a:t>
            </a:r>
          </a:p>
          <a:p>
            <a:pPr marL="742950" marR="0" lvl="1" algn="l" defTabSz="685800" rtl="0" eaLnBrk="0" fontAlgn="auto" latinLnBrk="0" hangingPunct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tabLst/>
              <a:defRPr/>
            </a:pPr>
            <a:endParaRPr lang="de-DE" altLang="de-DE" sz="2000" b="1" kern="0" dirty="0">
              <a:solidFill>
                <a:prstClr val="black"/>
              </a:solidFill>
              <a:latin typeface="Arial"/>
            </a:endParaRPr>
          </a:p>
          <a:p>
            <a:pPr marL="285750" indent="-285750" defTabSz="685800" eaLnBrk="0" hangingPunct="0">
              <a:lnSpc>
                <a:spcPct val="90000"/>
              </a:lnSpc>
              <a:spcAft>
                <a:spcPts val="1300"/>
              </a:spcAft>
              <a:buFont typeface="Arial" panose="020B0604020202020204" pitchFamily="34" charset="0"/>
              <a:buChar char="•"/>
              <a:defRPr/>
            </a:pPr>
            <a:r>
              <a:rPr lang="de-DE" altLang="de-DE" sz="2000" b="1" kern="0" dirty="0">
                <a:solidFill>
                  <a:prstClr val="black"/>
                </a:solidFill>
                <a:latin typeface="Arial"/>
              </a:rPr>
              <a:t>Gesamtstaatliche Aufgabe</a:t>
            </a:r>
          </a:p>
          <a:p>
            <a:pPr marL="285750" indent="-285750" defTabSz="685800" eaLnBrk="0" hangingPunct="0">
              <a:lnSpc>
                <a:spcPct val="90000"/>
              </a:lnSpc>
              <a:spcAft>
                <a:spcPts val="1300"/>
              </a:spcAft>
              <a:buFont typeface="Arial" panose="020B0604020202020204" pitchFamily="34" charset="0"/>
              <a:buChar char="•"/>
              <a:defRPr/>
            </a:pPr>
            <a:r>
              <a:rPr lang="de-DE" altLang="de-DE" sz="2000" b="1" kern="0" dirty="0">
                <a:solidFill>
                  <a:prstClr val="black"/>
                </a:solidFill>
                <a:latin typeface="Arial"/>
              </a:rPr>
              <a:t>Kommunikation!</a:t>
            </a:r>
          </a:p>
          <a:p>
            <a:pPr marL="742950" marR="0" lvl="1" algn="l" defTabSz="685800" rtl="0" eaLnBrk="0" fontAlgn="auto" latinLnBrk="0" hangingPunct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de-DE" altLang="de-DE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218" y="4209183"/>
            <a:ext cx="2956355" cy="1969673"/>
          </a:xfrm>
          <a:prstGeom prst="rect">
            <a:avLst/>
          </a:prstGeom>
          <a:effectLst>
            <a:softEdge rad="88900"/>
          </a:effec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218" y="1364412"/>
            <a:ext cx="2956355" cy="1969673"/>
          </a:xfrm>
          <a:prstGeom prst="rect">
            <a:avLst/>
          </a:prstGeom>
          <a:effectLst>
            <a:softEdge rad="88900"/>
          </a:effectLst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9251" y="1205862"/>
            <a:ext cx="2838249" cy="21286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softEdge rad="88900"/>
          </a:effec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9251" y="4209183"/>
            <a:ext cx="2838249" cy="200950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softEdge rad="88900"/>
          </a:effectLst>
        </p:spPr>
      </p:pic>
    </p:spTree>
    <p:extLst>
      <p:ext uri="{BB962C8B-B14F-4D97-AF65-F5344CB8AC3E}">
        <p14:creationId xmlns:p14="http://schemas.microsoft.com/office/powerpoint/2010/main" val="3748934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54648" y="1901019"/>
            <a:ext cx="5523938" cy="3808666"/>
          </a:xfrm>
          <a:prstGeom prst="rect">
            <a:avLst/>
          </a:prstGeom>
          <a:solidFill>
            <a:schemeClr val="bg1"/>
          </a:solidFill>
          <a:ln w="19050">
            <a:solidFill>
              <a:srgbClr val="4F81BD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36000" tIns="360000" rIns="36000" rtlCol="0" anchor="t"/>
          <a:lstStyle/>
          <a:p>
            <a:pPr defTabSz="685800">
              <a:spcBef>
                <a:spcPts val="600"/>
              </a:spcBef>
              <a:defRPr/>
            </a:pPr>
            <a:endParaRPr lang="de-DE" sz="1400" dirty="0">
              <a:solidFill>
                <a:srgbClr val="000000"/>
              </a:solidFill>
              <a:latin typeface="BundesSans Bold" panose="020B0002030500000203"/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6554647" y="1147593"/>
            <a:ext cx="5523937" cy="4041095"/>
            <a:chOff x="6554647" y="1147593"/>
            <a:chExt cx="5523937" cy="4041095"/>
          </a:xfrm>
        </p:grpSpPr>
        <p:sp>
          <p:nvSpPr>
            <p:cNvPr id="33" name="Rectangle 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554647" y="1147593"/>
              <a:ext cx="5523937" cy="753425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vert="horz" lIns="36000" tIns="0" rIns="0" bIns="0" rtlCol="0" anchor="ctr" anchorCtr="0">
              <a:normAutofit/>
            </a:bodyPr>
            <a:lstStyle/>
            <a:p>
              <a:pPr algn="ctr">
                <a:defRPr/>
              </a:pPr>
              <a:r>
                <a:rPr lang="de-DE" sz="2000" b="1" kern="0" dirty="0">
                  <a:solidFill>
                    <a:prstClr val="white"/>
                  </a:solidFill>
                  <a:latin typeface="Arial Regular"/>
                  <a:cs typeface="Arial" panose="020B0604020202020204" pitchFamily="34" charset="0"/>
                </a:rPr>
                <a:t>Absicht</a:t>
              </a:r>
              <a:endParaRPr lang="de-DE" sz="1400" b="1" kern="0" dirty="0">
                <a:solidFill>
                  <a:prstClr val="white"/>
                </a:solidFill>
                <a:latin typeface="Arial Regular"/>
                <a:cs typeface="Arial" panose="020B0604020202020204" pitchFamily="34" charset="0"/>
              </a:endParaRP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6581644" y="2011511"/>
              <a:ext cx="5375907" cy="31771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just" defTabSz="265113">
                <a:spcAft>
                  <a:spcPts val="600"/>
                </a:spcAft>
                <a:defRPr/>
              </a:pPr>
              <a:r>
                <a:rPr lang="de-DE" b="1" dirty="0">
                  <a:solidFill>
                    <a:srgbClr val="000000"/>
                  </a:solidFill>
                </a:rPr>
                <a:t>Gewerbliche Dienstleister entlasten eigene militärische Kräfte, indem DEU Streitkräfte beim Aufmarsch im Inland und alliierte Streitkräfte beim Transit durch DEU logistisch unterstützt werden.</a:t>
              </a:r>
            </a:p>
            <a:p>
              <a:pPr defTabSz="265113">
                <a:spcAft>
                  <a:spcPts val="600"/>
                </a:spcAft>
                <a:defRPr/>
              </a:pPr>
              <a:endParaRPr lang="de-DE" sz="1400" b="1" dirty="0">
                <a:solidFill>
                  <a:srgbClr val="000000"/>
                </a:solidFill>
                <a:latin typeface="Arial" panose="020B0604020202020204"/>
              </a:endParaRPr>
            </a:p>
            <a:p>
              <a:pPr defTabSz="265113">
                <a:spcAft>
                  <a:spcPts val="600"/>
                </a:spcAft>
                <a:defRPr/>
              </a:pPr>
              <a:r>
                <a:rPr lang="de-DE" sz="1400" b="1" dirty="0">
                  <a:solidFill>
                    <a:srgbClr val="000000"/>
                  </a:solidFill>
                  <a:latin typeface="Arial" panose="020B0604020202020204"/>
                </a:rPr>
                <a:t>	</a:t>
              </a:r>
              <a:r>
                <a:rPr lang="de-DE" b="1" dirty="0">
                  <a:solidFill>
                    <a:srgbClr val="000000"/>
                  </a:solidFill>
                  <a:latin typeface="Arial" panose="020B0604020202020204"/>
                </a:rPr>
                <a:t>2020 - Fertigstellung Vergabeunterlagen </a:t>
              </a:r>
            </a:p>
            <a:p>
              <a:pPr defTabSz="265113">
                <a:spcAft>
                  <a:spcPts val="600"/>
                </a:spcAft>
                <a:defRPr/>
              </a:pPr>
              <a:r>
                <a:rPr lang="de-DE" b="1" dirty="0">
                  <a:solidFill>
                    <a:srgbClr val="000000"/>
                  </a:solidFill>
                  <a:latin typeface="Arial" panose="020B0604020202020204"/>
                </a:rPr>
                <a:t>	2021 - Durchführung Vergabeverfahren     </a:t>
              </a:r>
            </a:p>
            <a:p>
              <a:pPr defTabSz="265113">
                <a:spcAft>
                  <a:spcPts val="600"/>
                </a:spcAft>
                <a:defRPr/>
              </a:pPr>
              <a:r>
                <a:rPr lang="de-DE" b="1" dirty="0">
                  <a:solidFill>
                    <a:srgbClr val="000000"/>
                  </a:solidFill>
                  <a:latin typeface="Arial" panose="020B0604020202020204"/>
                </a:rPr>
                <a:t>	2023 - Wirksamkeit Vertrag</a:t>
              </a:r>
            </a:p>
            <a:p>
              <a:pPr marL="285750" indent="-285750" defTabSz="685800">
                <a:spcAft>
                  <a:spcPts val="600"/>
                </a:spcAft>
                <a:buFont typeface="Wingdings" panose="05000000000000000000" pitchFamily="2" charset="2"/>
                <a:buChar char="à"/>
                <a:defRPr/>
              </a:pPr>
              <a:endParaRPr lang="de-DE" sz="1400" b="1" dirty="0" err="1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NS durch Zivilgewerbliche Leistungen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1270" y="3924969"/>
            <a:ext cx="2720183" cy="1812321"/>
          </a:xfrm>
          <a:prstGeom prst="rect">
            <a:avLst/>
          </a:prstGeom>
          <a:ln w="12700">
            <a:solidFill>
              <a:srgbClr val="000000"/>
            </a:solidFill>
          </a:ln>
          <a:effectLst>
            <a:softEdge rad="88900"/>
          </a:effec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959" y="3091592"/>
            <a:ext cx="2340247" cy="2340247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947" y="4558890"/>
            <a:ext cx="2496862" cy="1872647"/>
          </a:xfrm>
          <a:prstGeom prst="rect">
            <a:avLst/>
          </a:prstGeom>
          <a:effectLst>
            <a:softEdge rad="88900"/>
          </a:effectLst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994" y="1185007"/>
            <a:ext cx="3430546" cy="1952772"/>
          </a:xfrm>
          <a:prstGeom prst="rect">
            <a:avLst/>
          </a:prstGeom>
          <a:effectLst>
            <a:softEdge rad="88900"/>
          </a:effec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7467" y="1524305"/>
            <a:ext cx="3406165" cy="2273615"/>
          </a:xfrm>
          <a:prstGeom prst="rect">
            <a:avLst/>
          </a:prstGeom>
          <a:effectLst>
            <a:softEdge rad="88900"/>
          </a:effectLst>
        </p:spPr>
      </p:pic>
    </p:spTree>
    <p:extLst>
      <p:ext uri="{BB962C8B-B14F-4D97-AF65-F5344CB8AC3E}">
        <p14:creationId xmlns:p14="http://schemas.microsoft.com/office/powerpoint/2010/main" val="53507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uppieren 31"/>
          <p:cNvGrpSpPr>
            <a:grpSpLocks noChangeAspect="1"/>
          </p:cNvGrpSpPr>
          <p:nvPr/>
        </p:nvGrpSpPr>
        <p:grpSpPr>
          <a:xfrm>
            <a:off x="287338" y="945620"/>
            <a:ext cx="11011139" cy="5436000"/>
            <a:chOff x="1746670" y="1558688"/>
            <a:chExt cx="8716588" cy="4847516"/>
          </a:xfrm>
        </p:grpSpPr>
        <p:pic>
          <p:nvPicPr>
            <p:cNvPr id="5" name="Inhaltsplatzhalter 6">
              <a:extLst>
                <a:ext uri="{FF2B5EF4-FFF2-40B4-BE49-F238E27FC236}">
                  <a16:creationId xmlns:a16="http://schemas.microsoft.com/office/drawing/2014/main" id="{56FFEED8-F53C-43CB-80B6-28E89A97FE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746670" y="1558688"/>
              <a:ext cx="8716588" cy="4847516"/>
            </a:xfrm>
            <a:prstGeom prst="rect">
              <a:avLst/>
            </a:prstGeom>
            <a:noFill/>
            <a:ln w="19050">
              <a:solidFill>
                <a:srgbClr val="00499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Parallelogramm 16">
              <a:extLst>
                <a:ext uri="{FF2B5EF4-FFF2-40B4-BE49-F238E27FC236}">
                  <a16:creationId xmlns:a16="http://schemas.microsoft.com/office/drawing/2014/main" id="{596C2C07-22E7-4F47-900F-368FCDC61DBE}"/>
                </a:ext>
              </a:extLst>
            </p:cNvPr>
            <p:cNvSpPr/>
            <p:nvPr/>
          </p:nvSpPr>
          <p:spPr>
            <a:xfrm>
              <a:off x="4190201" y="3169727"/>
              <a:ext cx="2566755" cy="2922201"/>
            </a:xfrm>
            <a:prstGeom prst="parallelogram">
              <a:avLst>
                <a:gd name="adj" fmla="val 17433"/>
              </a:avLst>
            </a:prstGeom>
            <a:solidFill>
              <a:srgbClr val="FF0000">
                <a:alpha val="29000"/>
              </a:srgbClr>
            </a:solidFill>
            <a:ln w="25400" cap="flat" cmpd="sng" algn="ctr">
              <a:solidFill>
                <a:srgbClr val="C40046"/>
              </a:solidFill>
              <a:prstDash val="solid"/>
            </a:ln>
            <a:effectLst/>
          </p:spPr>
          <p:txBody>
            <a:bodyPr rtlCol="0" anchor="t" anchorCtr="0"/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Parallelogramm 6">
              <a:extLst>
                <a:ext uri="{FF2B5EF4-FFF2-40B4-BE49-F238E27FC236}">
                  <a16:creationId xmlns:a16="http://schemas.microsoft.com/office/drawing/2014/main" id="{32F7C0B2-8597-457C-B409-C944459747BE}"/>
                </a:ext>
              </a:extLst>
            </p:cNvPr>
            <p:cNvSpPr/>
            <p:nvPr/>
          </p:nvSpPr>
          <p:spPr>
            <a:xfrm flipH="1">
              <a:off x="7013642" y="2065178"/>
              <a:ext cx="2366002" cy="2241445"/>
            </a:xfrm>
            <a:prstGeom prst="parallelogram">
              <a:avLst>
                <a:gd name="adj" fmla="val 15737"/>
              </a:avLst>
            </a:prstGeom>
            <a:solidFill>
              <a:srgbClr val="FF0000">
                <a:alpha val="29000"/>
              </a:srgbClr>
            </a:solidFill>
            <a:ln w="25400" cap="flat" cmpd="sng" algn="ctr">
              <a:solidFill>
                <a:srgbClr val="C4004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8" name="Gruppieren 7"/>
            <p:cNvGrpSpPr/>
            <p:nvPr/>
          </p:nvGrpSpPr>
          <p:grpSpPr>
            <a:xfrm>
              <a:off x="6251673" y="3153563"/>
              <a:ext cx="2654517" cy="2939433"/>
              <a:chOff x="4716015" y="2780928"/>
              <a:chExt cx="2664296" cy="3021801"/>
            </a:xfrm>
            <a:solidFill>
              <a:srgbClr val="004F80">
                <a:alpha val="63000"/>
              </a:srgbClr>
            </a:solidFill>
          </p:grpSpPr>
          <p:sp>
            <p:nvSpPr>
              <p:cNvPr id="9" name="Trapezoid 8"/>
              <p:cNvSpPr/>
              <p:nvPr/>
            </p:nvSpPr>
            <p:spPr>
              <a:xfrm>
                <a:off x="4716015" y="4005064"/>
                <a:ext cx="2335824" cy="1797665"/>
              </a:xfrm>
              <a:prstGeom prst="trapezoid">
                <a:avLst>
                  <a:gd name="adj" fmla="val 16541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" name="Trapezoid 9"/>
              <p:cNvSpPr/>
              <p:nvPr/>
            </p:nvSpPr>
            <p:spPr>
              <a:xfrm>
                <a:off x="5006649" y="2780928"/>
                <a:ext cx="836589" cy="1248899"/>
              </a:xfrm>
              <a:prstGeom prst="trapezoid">
                <a:avLst>
                  <a:gd name="adj" fmla="val 26154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" name="Parallelogramm 10"/>
              <p:cNvSpPr/>
              <p:nvPr/>
            </p:nvSpPr>
            <p:spPr>
              <a:xfrm rot="10800000" flipH="1">
                <a:off x="6703704" y="3966299"/>
                <a:ext cx="676607" cy="316562"/>
              </a:xfrm>
              <a:prstGeom prst="parallelogram">
                <a:avLst>
                  <a:gd name="adj" fmla="val 24624"/>
                </a:avLst>
              </a:pr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6858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" name="Parallelogramm 11">
              <a:extLst>
                <a:ext uri="{FF2B5EF4-FFF2-40B4-BE49-F238E27FC236}">
                  <a16:creationId xmlns:a16="http://schemas.microsoft.com/office/drawing/2014/main" id="{22D1F98A-20CB-429A-BFDB-E27D5E0C69E7}"/>
                </a:ext>
              </a:extLst>
            </p:cNvPr>
            <p:cNvSpPr/>
            <p:nvPr/>
          </p:nvSpPr>
          <p:spPr>
            <a:xfrm flipH="1">
              <a:off x="8333285" y="4599022"/>
              <a:ext cx="1912002" cy="1492906"/>
            </a:xfrm>
            <a:prstGeom prst="parallelogram">
              <a:avLst>
                <a:gd name="adj" fmla="val 15836"/>
              </a:avLst>
            </a:prstGeom>
            <a:solidFill>
              <a:srgbClr val="FF0000">
                <a:alpha val="29000"/>
              </a:srgbClr>
            </a:solidFill>
            <a:ln w="25400" cap="flat" cmpd="sng" algn="ctr">
              <a:solidFill>
                <a:srgbClr val="C40046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C9FCEAC7-9798-4B8D-8DBA-C5890564F32F}"/>
                </a:ext>
              </a:extLst>
            </p:cNvPr>
            <p:cNvSpPr txBox="1"/>
            <p:nvPr/>
          </p:nvSpPr>
          <p:spPr>
            <a:xfrm>
              <a:off x="6564788" y="5059595"/>
              <a:ext cx="1778949" cy="479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</a:rPr>
                <a:t>REAR AREA</a:t>
              </a:r>
            </a:p>
          </p:txBody>
        </p:sp>
        <p:cxnSp>
          <p:nvCxnSpPr>
            <p:cNvPr id="14" name="Gerade Verbindung mit Pfeil 22"/>
            <p:cNvCxnSpPr/>
            <p:nvPr/>
          </p:nvCxnSpPr>
          <p:spPr>
            <a:xfrm>
              <a:off x="6690625" y="2046788"/>
              <a:ext cx="705641" cy="2575318"/>
            </a:xfrm>
            <a:prstGeom prst="straightConnector1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  <a:tailEnd type="triangle"/>
            </a:ln>
            <a:effectLst/>
          </p:spPr>
        </p:cxnSp>
        <p:cxnSp>
          <p:nvCxnSpPr>
            <p:cNvPr id="15" name="Gerade Verbindung mit Pfeil 23"/>
            <p:cNvCxnSpPr>
              <a:stCxn id="31" idx="2"/>
            </p:cNvCxnSpPr>
            <p:nvPr/>
          </p:nvCxnSpPr>
          <p:spPr>
            <a:xfrm>
              <a:off x="6672316" y="2028543"/>
              <a:ext cx="2120954" cy="2803623"/>
            </a:xfrm>
            <a:prstGeom prst="straightConnector1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  <a:tailEnd type="triangle"/>
            </a:ln>
            <a:effectLst/>
          </p:spPr>
        </p:cxnSp>
        <p:cxnSp>
          <p:nvCxnSpPr>
            <p:cNvPr id="16" name="Gerade Verbindung mit Pfeil 31"/>
            <p:cNvCxnSpPr/>
            <p:nvPr/>
          </p:nvCxnSpPr>
          <p:spPr>
            <a:xfrm>
              <a:off x="6693675" y="2027011"/>
              <a:ext cx="937206" cy="1848810"/>
            </a:xfrm>
            <a:prstGeom prst="straightConnector1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  <a:tailEnd type="triangle"/>
            </a:ln>
            <a:effectLst/>
          </p:spPr>
        </p:cxnSp>
        <p:sp>
          <p:nvSpPr>
            <p:cNvPr id="20" name="Rechteck 2"/>
            <p:cNvSpPr/>
            <p:nvPr/>
          </p:nvSpPr>
          <p:spPr>
            <a:xfrm>
              <a:off x="7007387" y="5686807"/>
              <a:ext cx="743536" cy="280181"/>
            </a:xfrm>
            <a:prstGeom prst="rect">
              <a:avLst/>
            </a:prstGeom>
            <a:solidFill>
              <a:srgbClr val="B3E2FF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tlCol="0" anchor="ctr"/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JSEC</a:t>
              </a:r>
            </a:p>
          </p:txBody>
        </p:sp>
        <p:sp>
          <p:nvSpPr>
            <p:cNvPr id="22" name="Rechteck 2"/>
            <p:cNvSpPr/>
            <p:nvPr/>
          </p:nvSpPr>
          <p:spPr>
            <a:xfrm>
              <a:off x="8721918" y="5686807"/>
              <a:ext cx="1048183" cy="280181"/>
            </a:xfrm>
            <a:prstGeom prst="rect">
              <a:avLst/>
            </a:prstGeom>
            <a:solidFill>
              <a:srgbClr val="B3E2FF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tlCol="0" anchor="ctr"/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JFC Neapel</a:t>
              </a:r>
            </a:p>
          </p:txBody>
        </p:sp>
        <p:sp>
          <p:nvSpPr>
            <p:cNvPr id="23" name="Rechteck 2"/>
            <p:cNvSpPr/>
            <p:nvPr/>
          </p:nvSpPr>
          <p:spPr>
            <a:xfrm>
              <a:off x="7630881" y="2157579"/>
              <a:ext cx="1180697" cy="280181"/>
            </a:xfrm>
            <a:prstGeom prst="rect">
              <a:avLst/>
            </a:prstGeom>
            <a:solidFill>
              <a:srgbClr val="B3E2FF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tlCol="0" anchor="ctr"/>
            <a:lstStyle/>
            <a:p>
              <a:pPr lvl="0"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en-US" sz="13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JFC </a:t>
              </a:r>
              <a:r>
                <a:rPr lang="en-US" sz="1350" b="1" kern="0" dirty="0" err="1">
                  <a:solidFill>
                    <a:prstClr val="black"/>
                  </a:solidFill>
                </a:rPr>
                <a:t>Brunssum</a:t>
              </a:r>
              <a:endParaRPr kumimoji="0" lang="en-US" sz="13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Oval 1"/>
            <p:cNvSpPr/>
            <p:nvPr/>
          </p:nvSpPr>
          <p:spPr>
            <a:xfrm rot="2179000">
              <a:off x="6709108" y="4352339"/>
              <a:ext cx="1514805" cy="1845542"/>
            </a:xfrm>
            <a:prstGeom prst="ellipse">
              <a:avLst/>
            </a:prstGeom>
            <a:noFill/>
            <a:ln w="25400" cap="flat" cmpd="sng" algn="ctr">
              <a:solidFill>
                <a:srgbClr val="FFFF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7931752" y="2712719"/>
              <a:ext cx="1223909" cy="6586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JOINT </a:t>
              </a:r>
            </a:p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OPERATIONS</a:t>
              </a:r>
            </a:p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AREA</a:t>
              </a: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8916748" y="4585350"/>
              <a:ext cx="1223910" cy="6586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marR="0" lvl="0" indent="0" algn="ctr" defTabSz="6858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defRPr>
              </a:lvl1pPr>
            </a:lstStyle>
            <a:p>
              <a:r>
                <a:rPr lang="de-DE" sz="1400" dirty="0"/>
                <a:t>JOINT </a:t>
              </a:r>
            </a:p>
            <a:p>
              <a:r>
                <a:rPr lang="de-DE" sz="1400" dirty="0"/>
                <a:t>OPERATIONS</a:t>
              </a:r>
            </a:p>
            <a:p>
              <a:r>
                <a:rPr lang="de-DE" sz="1400" dirty="0"/>
                <a:t>AREA</a:t>
              </a:r>
            </a:p>
          </p:txBody>
        </p:sp>
        <p:sp>
          <p:nvSpPr>
            <p:cNvPr id="28" name="Rechteck 14"/>
            <p:cNvSpPr/>
            <p:nvPr/>
          </p:nvSpPr>
          <p:spPr>
            <a:xfrm>
              <a:off x="7448335" y="3886464"/>
              <a:ext cx="503980" cy="327207"/>
            </a:xfrm>
            <a:prstGeom prst="rect">
              <a:avLst/>
            </a:prstGeom>
            <a:gradFill rotWithShape="1">
              <a:gsLst>
                <a:gs pos="0">
                  <a:srgbClr val="00B8F2">
                    <a:shade val="51000"/>
                    <a:satMod val="130000"/>
                  </a:srgbClr>
                </a:gs>
                <a:gs pos="80000">
                  <a:srgbClr val="00B8F2">
                    <a:shade val="93000"/>
                    <a:satMod val="130000"/>
                  </a:srgbClr>
                </a:gs>
                <a:gs pos="100000">
                  <a:srgbClr val="00B8F2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lIns="0" rIns="0" rtlCol="0" anchor="ctr"/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JLSG</a:t>
              </a:r>
            </a:p>
          </p:txBody>
        </p:sp>
        <p:sp>
          <p:nvSpPr>
            <p:cNvPr id="29" name="Rechteck 14"/>
            <p:cNvSpPr/>
            <p:nvPr/>
          </p:nvSpPr>
          <p:spPr>
            <a:xfrm>
              <a:off x="8475281" y="4847760"/>
              <a:ext cx="503980" cy="327207"/>
            </a:xfrm>
            <a:prstGeom prst="rect">
              <a:avLst/>
            </a:prstGeom>
            <a:gradFill rotWithShape="1">
              <a:gsLst>
                <a:gs pos="0">
                  <a:srgbClr val="00B8F2">
                    <a:shade val="51000"/>
                    <a:satMod val="130000"/>
                  </a:srgbClr>
                </a:gs>
                <a:gs pos="80000">
                  <a:srgbClr val="00B8F2">
                    <a:shade val="93000"/>
                    <a:satMod val="130000"/>
                  </a:srgbClr>
                </a:gs>
                <a:gs pos="100000">
                  <a:srgbClr val="00B8F2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lIns="0" rIns="0" rtlCol="0" anchor="ctr"/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JLSG</a:t>
              </a:r>
            </a:p>
          </p:txBody>
        </p:sp>
        <p:sp>
          <p:nvSpPr>
            <p:cNvPr id="30" name="Rechteck 14"/>
            <p:cNvSpPr/>
            <p:nvPr/>
          </p:nvSpPr>
          <p:spPr>
            <a:xfrm>
              <a:off x="7301033" y="4614556"/>
              <a:ext cx="503980" cy="327207"/>
            </a:xfrm>
            <a:prstGeom prst="rect">
              <a:avLst/>
            </a:prstGeom>
            <a:gradFill rotWithShape="1">
              <a:gsLst>
                <a:gs pos="0">
                  <a:srgbClr val="00B8F2">
                    <a:shade val="51000"/>
                    <a:satMod val="130000"/>
                  </a:srgbClr>
                </a:gs>
                <a:gs pos="80000">
                  <a:srgbClr val="00B8F2">
                    <a:shade val="93000"/>
                    <a:satMod val="130000"/>
                  </a:srgbClr>
                </a:gs>
                <a:gs pos="100000">
                  <a:srgbClr val="00B8F2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lIns="0" rIns="0" rtlCol="0" anchor="ctr"/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JLSG</a:t>
              </a:r>
            </a:p>
          </p:txBody>
        </p:sp>
        <p:sp>
          <p:nvSpPr>
            <p:cNvPr id="31" name="Rechteck 2"/>
            <p:cNvSpPr/>
            <p:nvPr/>
          </p:nvSpPr>
          <p:spPr>
            <a:xfrm>
              <a:off x="6177316" y="1578151"/>
              <a:ext cx="990000" cy="450392"/>
            </a:xfrm>
            <a:prstGeom prst="rect">
              <a:avLst/>
            </a:prstGeom>
            <a:gradFill rotWithShape="1">
              <a:gsLst>
                <a:gs pos="0">
                  <a:srgbClr val="C40046">
                    <a:shade val="51000"/>
                    <a:satMod val="130000"/>
                  </a:srgbClr>
                </a:gs>
                <a:gs pos="80000">
                  <a:srgbClr val="C40046">
                    <a:shade val="93000"/>
                    <a:satMod val="130000"/>
                  </a:srgbClr>
                </a:gs>
                <a:gs pos="100000">
                  <a:srgbClr val="C40046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tlCol="0" anchor="ctr"/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SJLSG</a:t>
              </a:r>
            </a:p>
          </p:txBody>
        </p:sp>
        <p:sp>
          <p:nvSpPr>
            <p:cNvPr id="18" name="Rechteck 14"/>
            <p:cNvSpPr/>
            <p:nvPr/>
          </p:nvSpPr>
          <p:spPr>
            <a:xfrm>
              <a:off x="5687140" y="4438184"/>
              <a:ext cx="488053" cy="381241"/>
            </a:xfrm>
            <a:prstGeom prst="rect">
              <a:avLst/>
            </a:prstGeom>
            <a:gradFill rotWithShape="1">
              <a:gsLst>
                <a:gs pos="0">
                  <a:srgbClr val="00B8F2">
                    <a:shade val="51000"/>
                    <a:satMod val="130000"/>
                  </a:srgbClr>
                </a:gs>
                <a:gs pos="80000">
                  <a:srgbClr val="00B8F2">
                    <a:shade val="93000"/>
                    <a:satMod val="130000"/>
                  </a:srgbClr>
                </a:gs>
                <a:gs pos="100000">
                  <a:srgbClr val="00B8F2"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lIns="0" rIns="0" rtlCol="0" anchor="ctr"/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JLSG</a:t>
              </a:r>
            </a:p>
          </p:txBody>
        </p:sp>
        <p:cxnSp>
          <p:nvCxnSpPr>
            <p:cNvPr id="19" name="Gerade Verbindung mit Pfeil 23"/>
            <p:cNvCxnSpPr/>
            <p:nvPr/>
          </p:nvCxnSpPr>
          <p:spPr>
            <a:xfrm flipH="1">
              <a:off x="5894829" y="2008504"/>
              <a:ext cx="777487" cy="2429016"/>
            </a:xfrm>
            <a:prstGeom prst="straightConnector1">
              <a:avLst/>
            </a:prstGeom>
            <a:noFill/>
            <a:ln w="31750" cap="flat" cmpd="sng" algn="ctr">
              <a:solidFill>
                <a:srgbClr val="FF0000"/>
              </a:solidFill>
              <a:prstDash val="solid"/>
              <a:tailEnd type="triangle"/>
            </a:ln>
            <a:effectLst/>
          </p:spPr>
        </p:cxnSp>
        <p:sp>
          <p:nvSpPr>
            <p:cNvPr id="21" name="Rechteck 2"/>
            <p:cNvSpPr/>
            <p:nvPr/>
          </p:nvSpPr>
          <p:spPr>
            <a:xfrm>
              <a:off x="4739928" y="4962548"/>
              <a:ext cx="1153704" cy="280181"/>
            </a:xfrm>
            <a:prstGeom prst="rect">
              <a:avLst/>
            </a:prstGeom>
            <a:solidFill>
              <a:srgbClr val="B3E2FF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rtlCol="0" anchor="ctr"/>
            <a:lstStyle/>
            <a:p>
              <a:pPr marL="0" marR="0" lvl="0" indent="0" algn="ctr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JFC Norfolk</a:t>
              </a:r>
            </a:p>
          </p:txBody>
        </p:sp>
        <p:sp>
          <p:nvSpPr>
            <p:cNvPr id="26" name="Textfeld 25"/>
            <p:cNvSpPr txBox="1"/>
            <p:nvPr/>
          </p:nvSpPr>
          <p:spPr>
            <a:xfrm>
              <a:off x="4669723" y="3658547"/>
              <a:ext cx="1223910" cy="6586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de-DE"/>
              </a:defPPr>
              <a:lvl1pPr marR="0" lvl="0" indent="0" algn="ctr" defTabSz="6858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 kumimoji="0" sz="1200" b="1" i="0" u="none" strike="noStrike" kern="0" cap="none" spc="0" normalizeH="0" baseline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defRPr>
              </a:lvl1pPr>
            </a:lstStyle>
            <a:p>
              <a:r>
                <a:rPr lang="de-DE" sz="1400" dirty="0"/>
                <a:t>JOINT </a:t>
              </a:r>
            </a:p>
            <a:p>
              <a:r>
                <a:rPr lang="de-DE" sz="1400" dirty="0"/>
                <a:t>OPERATIONS</a:t>
              </a:r>
            </a:p>
            <a:p>
              <a:r>
                <a:rPr lang="de-DE" sz="1400" dirty="0"/>
                <a:t>AREA</a:t>
              </a:r>
            </a:p>
          </p:txBody>
        </p:sp>
      </p:grpSp>
      <p:sp>
        <p:nvSpPr>
          <p:cNvPr id="6" name="Textfeld 5"/>
          <p:cNvSpPr txBox="1"/>
          <p:nvPr/>
        </p:nvSpPr>
        <p:spPr>
          <a:xfrm>
            <a:off x="313469" y="1119020"/>
            <a:ext cx="3555172" cy="3688361"/>
          </a:xfrm>
          <a:prstGeom prst="rect">
            <a:avLst/>
          </a:prstGeom>
          <a:solidFill>
            <a:srgbClr val="FFFFFF">
              <a:alpha val="90000"/>
            </a:srgbClr>
          </a:solidFill>
          <a:ln w="9525">
            <a:solidFill>
              <a:schemeClr val="tx1"/>
            </a:solidFill>
          </a:ln>
        </p:spPr>
        <p:txBody>
          <a:bodyPr wrap="square" tIns="180000" rtlCol="0">
            <a:noAutofit/>
          </a:bodyPr>
          <a:lstStyle/>
          <a:p>
            <a:pPr marL="0" marR="0" lvl="0" indent="0" defTabSz="685800" eaLnBrk="1" fontAlgn="auto" latinLnBrk="0" hangingPunct="1">
              <a:lnSpc>
                <a:spcPts val="2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Aufgaben JSEC</a:t>
            </a:r>
          </a:p>
          <a:p>
            <a:pPr marL="214313" marR="0" lvl="0" indent="-214313" defTabSz="68580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Sicherstellen der Operations- und Bewegungsfreiheit</a:t>
            </a:r>
          </a:p>
          <a:p>
            <a:pPr marL="214313" marR="0" lvl="0" indent="-214313" defTabSz="68580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Transnationale Koordination der Unterstützungs-leistungen im rückwärtigen Raum zwischen NATO und Host </a:t>
            </a:r>
            <a:r>
              <a:rPr kumimoji="0" lang="de-DE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Nations</a:t>
            </a: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214313" marR="0" lvl="0" indent="-214313" defTabSz="68580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Planung und Führung assignierter Kräfte</a:t>
            </a:r>
          </a:p>
          <a:p>
            <a:pPr marL="214313" marR="0" lvl="0" indent="-214313" defTabSz="685800" eaLnBrk="1" fontAlgn="auto" latinLnBrk="0" hangingPunct="1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Koordinierung/ Training/ Integration der Folgekräfte</a:t>
            </a:r>
            <a:endParaRPr lang="de-DE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bIns="0" anchor="b" anchorCtr="0"/>
          <a:lstStyle/>
          <a:p>
            <a:r>
              <a:rPr lang="en-US" i="0" dirty="0"/>
              <a:t>Joint Support and Enabling Command</a:t>
            </a:r>
            <a:endParaRPr lang="de-DE" i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Streitkräftebasis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313469" y="4980781"/>
            <a:ext cx="3574435" cy="1283111"/>
          </a:xfrm>
          <a:prstGeom prst="rect">
            <a:avLst/>
          </a:prstGeom>
          <a:solidFill>
            <a:srgbClr val="FFFFFF">
              <a:alpha val="90000"/>
            </a:srgbClr>
          </a:solidFill>
          <a:ln w="9525">
            <a:solidFill>
              <a:schemeClr val="tx1"/>
            </a:solidFill>
          </a:ln>
        </p:spPr>
        <p:txBody>
          <a:bodyPr wrap="square" tIns="180000" rtlCol="0">
            <a:noAutofit/>
          </a:bodyPr>
          <a:lstStyle>
            <a:defPPr>
              <a:defRPr lang="de-DE"/>
            </a:defPPr>
            <a:lvl1pPr marR="0" lvl="0" indent="0" defTabSz="685800" fontAlgn="auto">
              <a:lnSpc>
                <a:spcPts val="2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b="1" i="0" u="sng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100" u="none" dirty="0"/>
              <a:t>SJLSG	Standing Joint </a:t>
            </a:r>
            <a:r>
              <a:rPr lang="de-DE" sz="1100" u="none" dirty="0" err="1"/>
              <a:t>Logistics</a:t>
            </a:r>
            <a:r>
              <a:rPr lang="de-DE" sz="1100" u="none" dirty="0"/>
              <a:t> Support Group</a:t>
            </a:r>
          </a:p>
          <a:p>
            <a:pPr>
              <a:lnSpc>
                <a:spcPct val="100000"/>
              </a:lnSpc>
            </a:pPr>
            <a:r>
              <a:rPr lang="de-DE" sz="1100" u="none" dirty="0"/>
              <a:t>JLSG	Joint </a:t>
            </a:r>
            <a:r>
              <a:rPr lang="de-DE" sz="1100" u="none" dirty="0" err="1"/>
              <a:t>Logistics</a:t>
            </a:r>
            <a:r>
              <a:rPr lang="de-DE" sz="1100" u="none" dirty="0"/>
              <a:t> Support Group</a:t>
            </a:r>
          </a:p>
          <a:p>
            <a:pPr>
              <a:lnSpc>
                <a:spcPct val="100000"/>
              </a:lnSpc>
            </a:pPr>
            <a:r>
              <a:rPr lang="de-DE" sz="1100" u="none" dirty="0"/>
              <a:t>JFC	Joint Force Command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4256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Übrigens</a:t>
            </a:r>
            <a:r>
              <a:rPr lang="en-US" dirty="0"/>
              <a:t>…</a:t>
            </a:r>
            <a:br>
              <a:rPr lang="en-US" dirty="0"/>
            </a:br>
            <a:r>
              <a:rPr lang="en-US" dirty="0"/>
              <a:t>Return of Forces to Germany (</a:t>
            </a:r>
            <a:r>
              <a:rPr lang="en-US" dirty="0" err="1"/>
              <a:t>Reforger</a:t>
            </a:r>
            <a:r>
              <a:rPr lang="en-US" dirty="0"/>
              <a:t>) 1988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pic>
        <p:nvPicPr>
          <p:cNvPr id="7" name="Picture 2" descr="https://upload.wikimedia.org/wikipedia/commons/c/c9/Reforger_90_C141B_Starlifter_Lux_Apt_DF-ST-91-00046.jpg"/>
          <p:cNvPicPr>
            <a:picLocks noChangeAspect="1" noChangeArrowheads="1"/>
          </p:cNvPicPr>
          <p:nvPr/>
        </p:nvPicPr>
        <p:blipFill rotWithShape="1">
          <a:blip r:embed="rId2"/>
          <a:srcRect b="18471"/>
          <a:stretch/>
        </p:blipFill>
        <p:spPr bwMode="auto">
          <a:xfrm>
            <a:off x="2103666" y="3569546"/>
            <a:ext cx="5096011" cy="282608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9" name="Textfeld 8"/>
          <p:cNvSpPr txBox="1"/>
          <p:nvPr/>
        </p:nvSpPr>
        <p:spPr>
          <a:xfrm>
            <a:off x="4043867" y="1483436"/>
            <a:ext cx="3061253" cy="13234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24.800 Soldaten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15.000 Radfahrzeuge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7.000 Kettenfahrzeuge</a:t>
            </a:r>
          </a:p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630 Hubschrauber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06"/>
          <a:stretch/>
        </p:blipFill>
        <p:spPr>
          <a:xfrm>
            <a:off x="9625" y="934845"/>
            <a:ext cx="4396445" cy="2333819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8" name="Picture 4" descr="https://upload.wikimedia.org/wikipedia/commons/7/73/A_convoy_of_M113_armored_personnel_carriers_in_Germany_Exercise_REFORGER_%2785.JPE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621" y="3201289"/>
            <a:ext cx="2148601" cy="3192309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503" y="2915772"/>
            <a:ext cx="1867910" cy="1880363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698" y="808220"/>
            <a:ext cx="4980709" cy="5806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21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 anchor="b" anchorCtr="0">
            <a:noAutofit/>
          </a:bodyPr>
          <a:lstStyle/>
          <a:p>
            <a:pPr>
              <a:buClr>
                <a:schemeClr val="tx2"/>
              </a:buClr>
              <a:buFont typeface="Wingdings" pitchFamily="2" charset="2"/>
            </a:pPr>
            <a:r>
              <a:rPr lang="de-DE" dirty="0">
                <a:solidFill>
                  <a:schemeClr val="bg1"/>
                </a:solidFill>
              </a:rPr>
              <a:t>Auftrag Streitkräftebasis</a:t>
            </a:r>
          </a:p>
        </p:txBody>
      </p:sp>
      <p:sp>
        <p:nvSpPr>
          <p:cNvPr id="34" name="Text Box 1036"/>
          <p:cNvSpPr txBox="1">
            <a:spLocks noChangeAspect="1" noChangeArrowheads="1"/>
          </p:cNvSpPr>
          <p:nvPr/>
        </p:nvSpPr>
        <p:spPr bwMode="auto">
          <a:xfrm>
            <a:off x="616521" y="1133319"/>
            <a:ext cx="10969531" cy="39726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214313" marR="0" lvl="0" indent="-214313" algn="l" defTabSz="914400" rtl="0" eaLnBrk="0" fontAlgn="auto" latinLnBrk="0" hangingPunct="0">
              <a:lnSpc>
                <a:spcPts val="165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Führung von Einsätzen der Bundeswehr in Deutschland</a:t>
            </a:r>
          </a:p>
        </p:txBody>
      </p:sp>
      <p:sp>
        <p:nvSpPr>
          <p:cNvPr id="35" name="Text Box 1036"/>
          <p:cNvSpPr txBox="1">
            <a:spLocks noChangeAspect="1" noChangeArrowheads="1"/>
          </p:cNvSpPr>
          <p:nvPr/>
        </p:nvSpPr>
        <p:spPr bwMode="auto">
          <a:xfrm>
            <a:off x="616521" y="1531238"/>
            <a:ext cx="10969531" cy="39726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defPPr>
              <a:defRPr lang="de-DE"/>
            </a:defPPr>
            <a:lvl1pPr marL="214313" indent="-214313" eaLnBrk="0" hangingPunct="0">
              <a:lnSpc>
                <a:spcPts val="165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 b="1">
                <a:solidFill>
                  <a:prstClr val="black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pPr marL="214313" marR="0" lvl="0" indent="-214313" algn="l" defTabSz="914400" rtl="0" eaLnBrk="0" fontAlgn="auto" latinLnBrk="0" hangingPunct="0">
              <a:lnSpc>
                <a:spcPts val="165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ruppensteller für Führungs- und  Unterstützungsaufgaben im In- und Ausland</a:t>
            </a:r>
          </a:p>
        </p:txBody>
      </p:sp>
      <p:sp>
        <p:nvSpPr>
          <p:cNvPr id="36" name="Text Box 1036"/>
          <p:cNvSpPr txBox="1">
            <a:spLocks noChangeAspect="1" noChangeArrowheads="1"/>
          </p:cNvSpPr>
          <p:nvPr/>
        </p:nvSpPr>
        <p:spPr bwMode="auto">
          <a:xfrm>
            <a:off x="616521" y="2707247"/>
            <a:ext cx="10969531" cy="39726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defPPr>
              <a:defRPr lang="de-DE"/>
            </a:defPPr>
            <a:lvl1pPr marL="214313" indent="-214313" eaLnBrk="0" hangingPunct="0">
              <a:lnSpc>
                <a:spcPts val="165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 b="1">
                <a:solidFill>
                  <a:prstClr val="black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pPr marL="214313" marR="0" lvl="0" indent="-214313" algn="l" defTabSz="914400" rtl="0" eaLnBrk="0" fontAlgn="auto" latinLnBrk="0" hangingPunct="0">
              <a:lnSpc>
                <a:spcPts val="165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itrag zur gesamtstaatlichen Sicherheitsvorsorge </a:t>
            </a:r>
          </a:p>
        </p:txBody>
      </p:sp>
      <p:sp>
        <p:nvSpPr>
          <p:cNvPr id="37" name="Text Box 1036"/>
          <p:cNvSpPr txBox="1">
            <a:spLocks noChangeAspect="1" noChangeArrowheads="1"/>
          </p:cNvSpPr>
          <p:nvPr/>
        </p:nvSpPr>
        <p:spPr bwMode="auto">
          <a:xfrm>
            <a:off x="616521" y="2309327"/>
            <a:ext cx="10969531" cy="39726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defPPr>
              <a:defRPr lang="de-DE"/>
            </a:defPPr>
            <a:lvl1pPr marL="214313" indent="-214313" eaLnBrk="0" hangingPunct="0">
              <a:lnSpc>
                <a:spcPts val="165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 b="1">
                <a:solidFill>
                  <a:prstClr val="black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pPr marL="214313" marR="0" lvl="0" indent="-214313" algn="l" defTabSz="914400" rtl="0" eaLnBrk="0" fontAlgn="auto" latinLnBrk="0" hangingPunct="0">
              <a:lnSpc>
                <a:spcPts val="165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trieb Inland und Beitrag zur Sicherstellung Funktionsfähigkeit Drehscheibe DEU </a:t>
            </a:r>
          </a:p>
        </p:txBody>
      </p:sp>
      <p:sp>
        <p:nvSpPr>
          <p:cNvPr id="38" name="Text Box 1036"/>
          <p:cNvSpPr txBox="1">
            <a:spLocks noChangeAspect="1" noChangeArrowheads="1"/>
          </p:cNvSpPr>
          <p:nvPr/>
        </p:nvSpPr>
        <p:spPr bwMode="auto">
          <a:xfrm>
            <a:off x="616521" y="1920551"/>
            <a:ext cx="10969531" cy="39726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defPPr>
              <a:defRPr lang="de-DE"/>
            </a:defPPr>
            <a:lvl1pPr marL="214313" indent="-214313" eaLnBrk="0" hangingPunct="0">
              <a:lnSpc>
                <a:spcPts val="165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 b="1">
                <a:solidFill>
                  <a:prstClr val="black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latin typeface="Arial" charset="0"/>
              </a:defRPr>
            </a:lvl2pPr>
            <a:lvl3pPr marL="1143000" indent="-228600" eaLnBrk="0" hangingPunct="0">
              <a:defRPr sz="1600">
                <a:latin typeface="Arial" charset="0"/>
              </a:defRPr>
            </a:lvl3pPr>
            <a:lvl4pPr marL="1600200" indent="-228600" eaLnBrk="0" hangingPunct="0">
              <a:defRPr sz="1600">
                <a:latin typeface="Arial" charset="0"/>
              </a:defRPr>
            </a:lvl4pPr>
            <a:lvl5pPr marL="2057400" indent="-228600" eaLnBrk="0" hangingPunct="0">
              <a:defRPr sz="1600"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latin typeface="Arial" charset="0"/>
              </a:defRPr>
            </a:lvl9pPr>
          </a:lstStyle>
          <a:p>
            <a:pPr marL="214313" marR="0" lvl="0" indent="-214313" algn="l" defTabSz="914400" rtl="0" eaLnBrk="0" fontAlgn="auto" latinLnBrk="0" hangingPunct="0">
              <a:lnSpc>
                <a:spcPts val="165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ahrnehmung bundeswehrgemeinsamer Querschnittsaufgaben</a:t>
            </a:r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159" y="3205005"/>
            <a:ext cx="2079990" cy="2666654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/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434400" y="4583229"/>
            <a:ext cx="2613919" cy="185654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Grafik 4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3986" y="3188284"/>
            <a:ext cx="2694714" cy="2021035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</p:pic>
      <p:grpSp>
        <p:nvGrpSpPr>
          <p:cNvPr id="2" name="Gruppieren 1"/>
          <p:cNvGrpSpPr/>
          <p:nvPr/>
        </p:nvGrpSpPr>
        <p:grpSpPr>
          <a:xfrm>
            <a:off x="7097434" y="4462029"/>
            <a:ext cx="2879355" cy="2071290"/>
            <a:chOff x="7097434" y="4462029"/>
            <a:chExt cx="2879355" cy="2071290"/>
          </a:xfrm>
        </p:grpSpPr>
        <p:grpSp>
          <p:nvGrpSpPr>
            <p:cNvPr id="43" name="Gruppieren 42"/>
            <p:cNvGrpSpPr/>
            <p:nvPr/>
          </p:nvGrpSpPr>
          <p:grpSpPr>
            <a:xfrm>
              <a:off x="7097434" y="4462029"/>
              <a:ext cx="2879355" cy="2071290"/>
              <a:chOff x="371697" y="1409354"/>
              <a:chExt cx="2111153" cy="1606731"/>
            </a:xfrm>
          </p:grpSpPr>
          <p:grpSp>
            <p:nvGrpSpPr>
              <p:cNvPr id="45" name="Gruppieren 44"/>
              <p:cNvGrpSpPr/>
              <p:nvPr/>
            </p:nvGrpSpPr>
            <p:grpSpPr>
              <a:xfrm>
                <a:off x="371697" y="1409354"/>
                <a:ext cx="2111153" cy="1606731"/>
                <a:chOff x="6900881" y="1280786"/>
                <a:chExt cx="2111153" cy="1606731"/>
              </a:xfrm>
            </p:grpSpPr>
            <p:grpSp>
              <p:nvGrpSpPr>
                <p:cNvPr id="53" name="Gruppieren 52"/>
                <p:cNvGrpSpPr/>
                <p:nvPr/>
              </p:nvGrpSpPr>
              <p:grpSpPr>
                <a:xfrm>
                  <a:off x="6900881" y="1280786"/>
                  <a:ext cx="2111153" cy="1606731"/>
                  <a:chOff x="6757386" y="909868"/>
                  <a:chExt cx="2111153" cy="1606731"/>
                </a:xfrm>
              </p:grpSpPr>
              <p:pic>
                <p:nvPicPr>
                  <p:cNvPr id="57" name="Grafik 56"/>
                  <p:cNvPicPr>
                    <a:picLocks noChangeAspect="1"/>
                  </p:cNvPicPr>
                  <p:nvPr/>
                </p:nvPicPr>
                <p:blipFill rotWithShape="1">
                  <a:blip r:embed="rId6" cstate="screen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 bwMode="auto">
                  <a:xfrm>
                    <a:off x="6757386" y="909868"/>
                    <a:ext cx="2111153" cy="1606731"/>
                  </a:xfrm>
                  <a:prstGeom prst="rect">
                    <a:avLst/>
                  </a:prstGeom>
                  <a:noFill/>
                  <a:ln w="9525">
                    <a:solidFill>
                      <a:srgbClr val="000000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cxnSp>
                <p:nvCxnSpPr>
                  <p:cNvPr id="58" name="Gerade Verbindung mit Pfeil 57"/>
                  <p:cNvCxnSpPr/>
                  <p:nvPr/>
                </p:nvCxnSpPr>
                <p:spPr>
                  <a:xfrm>
                    <a:off x="7016594" y="1315409"/>
                    <a:ext cx="347878" cy="268375"/>
                  </a:xfrm>
                  <a:prstGeom prst="straightConnector1">
                    <a:avLst/>
                  </a:prstGeom>
                  <a:ln w="57150">
                    <a:solidFill>
                      <a:srgbClr val="000066"/>
                    </a:solidFill>
                    <a:headEnd type="none" w="med" len="med"/>
                    <a:tailEnd type="triangle" w="med" len="med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Gerade Verbindung mit Pfeil 58"/>
                  <p:cNvCxnSpPr/>
                  <p:nvPr/>
                </p:nvCxnSpPr>
                <p:spPr>
                  <a:xfrm flipV="1">
                    <a:off x="7812962" y="1304393"/>
                    <a:ext cx="688493" cy="302819"/>
                  </a:xfrm>
                  <a:prstGeom prst="straightConnector1">
                    <a:avLst/>
                  </a:prstGeom>
                  <a:ln w="57150">
                    <a:solidFill>
                      <a:srgbClr val="000066"/>
                    </a:solidFill>
                    <a:headEnd type="none" w="med" len="med"/>
                    <a:tailEnd type="triangle" w="med" len="med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Gerade Verbindung mit Pfeil 59"/>
                  <p:cNvCxnSpPr/>
                  <p:nvPr/>
                </p:nvCxnSpPr>
                <p:spPr>
                  <a:xfrm>
                    <a:off x="7810507" y="1736238"/>
                    <a:ext cx="464363" cy="348795"/>
                  </a:xfrm>
                  <a:prstGeom prst="straightConnector1">
                    <a:avLst/>
                  </a:prstGeom>
                  <a:ln w="57150">
                    <a:solidFill>
                      <a:srgbClr val="000066"/>
                    </a:solidFill>
                    <a:headEnd type="none" w="med" len="med"/>
                    <a:tailEnd type="triangle" w="med" len="med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1" name="Gerade Verbindung mit Pfeil 60"/>
                  <p:cNvCxnSpPr/>
                  <p:nvPr/>
                </p:nvCxnSpPr>
                <p:spPr>
                  <a:xfrm flipV="1">
                    <a:off x="8505982" y="941511"/>
                    <a:ext cx="184220" cy="344772"/>
                  </a:xfrm>
                  <a:prstGeom prst="straightConnector1">
                    <a:avLst/>
                  </a:prstGeom>
                  <a:ln w="57150">
                    <a:solidFill>
                      <a:srgbClr val="000066"/>
                    </a:solidFill>
                    <a:headEnd type="none" w="med" len="med"/>
                    <a:tailEnd type="triangle" w="med" len="med"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4" name="Gruppieren 53"/>
                <p:cNvGrpSpPr/>
                <p:nvPr/>
              </p:nvGrpSpPr>
              <p:grpSpPr>
                <a:xfrm>
                  <a:off x="7441605" y="1845939"/>
                  <a:ext cx="426718" cy="444164"/>
                  <a:chOff x="7432979" y="1630289"/>
                  <a:chExt cx="426718" cy="444164"/>
                </a:xfrm>
              </p:grpSpPr>
              <p:sp>
                <p:nvSpPr>
                  <p:cNvPr id="55" name="Gebogener Pfeil 54"/>
                  <p:cNvSpPr/>
                  <p:nvPr/>
                </p:nvSpPr>
                <p:spPr>
                  <a:xfrm rot="1277580">
                    <a:off x="7432979" y="1630289"/>
                    <a:ext cx="424171" cy="407285"/>
                  </a:xfrm>
                  <a:prstGeom prst="circularArrow">
                    <a:avLst/>
                  </a:prstGeom>
                  <a:solidFill>
                    <a:srgbClr val="FF9900"/>
                  </a:solidFill>
                  <a:ln>
                    <a:noFill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Gebogener Pfeil 55"/>
                  <p:cNvSpPr/>
                  <p:nvPr/>
                </p:nvSpPr>
                <p:spPr>
                  <a:xfrm rot="1277580" flipH="1" flipV="1">
                    <a:off x="7435526" y="1667168"/>
                    <a:ext cx="424171" cy="407285"/>
                  </a:xfrm>
                  <a:prstGeom prst="circularArrow">
                    <a:avLst/>
                  </a:prstGeom>
                  <a:solidFill>
                    <a:srgbClr val="FF9900"/>
                  </a:solidFill>
                  <a:ln>
                    <a:noFill/>
                  </a:ln>
                  <a:effectLst>
                    <a:outerShdw blurRad="44450" dist="27940" dir="5400000" algn="ctr">
                      <a:srgbClr val="000000">
                        <a:alpha val="32000"/>
                      </a:srgbClr>
                    </a:outerShdw>
                  </a:effectLst>
                  <a:scene3d>
                    <a:camera prst="orthographicFront">
                      <a:rot lat="0" lon="0" rev="0"/>
                    </a:camera>
                    <a:lightRig rig="balanced" dir="t">
                      <a:rot lat="0" lon="0" rev="8700000"/>
                    </a:lightRig>
                  </a:scene3d>
                  <a:sp3d>
                    <a:bevelT w="190500" h="38100"/>
                  </a:sp3d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35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</p:grpSp>
          <p:cxnSp>
            <p:nvCxnSpPr>
              <p:cNvPr id="46" name="Gerade Verbindung mit Pfeil 45"/>
              <p:cNvCxnSpPr/>
              <p:nvPr/>
            </p:nvCxnSpPr>
            <p:spPr>
              <a:xfrm>
                <a:off x="1930373" y="2603989"/>
                <a:ext cx="116935" cy="302629"/>
              </a:xfrm>
              <a:prstGeom prst="straightConnector1">
                <a:avLst/>
              </a:prstGeom>
              <a:ln w="57150">
                <a:solidFill>
                  <a:srgbClr val="000066"/>
                </a:solidFill>
                <a:headEnd type="none" w="med" len="med"/>
                <a:tailEnd type="triangl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7" name="Picture 22" descr="D:\Bilder\Flaggen\GBR.gif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2177" y="2643945"/>
                <a:ext cx="270000" cy="18713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8" name="Picture 10" descr="D:\Bilder\Flaggen\USA.gif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4807" y="2825913"/>
                <a:ext cx="270000" cy="18713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9" name="Picture 25" descr="D:\Bilder\Flaggen\CAN.gif"/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2177" y="1851452"/>
                <a:ext cx="270000" cy="187145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0" name="Picture 16" descr="D:\Bilder\Flaggen\NLD.gif"/>
              <p:cNvPicPr>
                <a:picLocks noChangeAspect="1" noChangeArrowheads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2177" y="2256991"/>
                <a:ext cx="270000" cy="187132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1" name="Picture 27" descr="D:\Bilder\Flaggen\FRA.gif"/>
              <p:cNvPicPr>
                <a:picLocks noChangeAspect="1" noChangeArrowheads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2177" y="2053114"/>
                <a:ext cx="270000" cy="186671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2" name="Picture 4" descr="D:\Bilder\Flaggen\ESP.gif"/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2176" y="2457281"/>
                <a:ext cx="270001" cy="18713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44" name="Picture 4" descr="D:\Bilder\Flaggen\DEU.gif"/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25426" y="5828939"/>
              <a:ext cx="374340" cy="249559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uppieren 4"/>
          <p:cNvGrpSpPr/>
          <p:nvPr/>
        </p:nvGrpSpPr>
        <p:grpSpPr>
          <a:xfrm>
            <a:off x="9654262" y="3195421"/>
            <a:ext cx="1942561" cy="2742641"/>
            <a:chOff x="9654262" y="3195421"/>
            <a:chExt cx="1942561" cy="2742641"/>
          </a:xfrm>
        </p:grpSpPr>
        <p:pic>
          <p:nvPicPr>
            <p:cNvPr id="63" name="Picture 2" descr="D:\Data\10105929\Desktop\Bild1.png"/>
            <p:cNvPicPr>
              <a:picLocks noChangeAspect="1" noChangeArrowheads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54262" y="3195421"/>
              <a:ext cx="1942561" cy="2742641"/>
            </a:xfrm>
            <a:prstGeom prst="rect">
              <a:avLst/>
            </a:prstGeom>
            <a:noFill/>
            <a:ln w="1270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9"/>
            <p:cNvPicPr preferRelativeResize="0">
              <a:picLocks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14535" y="4280983"/>
              <a:ext cx="1241225" cy="77211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2" name="Textfeld 41"/>
          <p:cNvSpPr txBox="1"/>
          <p:nvPr/>
        </p:nvSpPr>
        <p:spPr>
          <a:xfrm>
            <a:off x="352295" y="6640312"/>
            <a:ext cx="1440000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itkräftebasis</a:t>
            </a:r>
          </a:p>
        </p:txBody>
      </p:sp>
    </p:spTree>
    <p:extLst>
      <p:ext uri="{BB962C8B-B14F-4D97-AF65-F5344CB8AC3E}">
        <p14:creationId xmlns:p14="http://schemas.microsoft.com/office/powerpoint/2010/main" val="184635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3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pPr algn="l" defTabSz="685800">
              <a:spcBef>
                <a:spcPts val="0"/>
              </a:spcBef>
              <a:buClr>
                <a:schemeClr val="tx2"/>
              </a:buClr>
              <a:buFont typeface="Wingdings" pitchFamily="2" charset="2"/>
            </a:pPr>
            <a:r>
              <a:rPr lang="de-DE" sz="2300" cap="all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Die Streitkräftebasis - Gliederung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3097701" y="968847"/>
            <a:ext cx="5760000" cy="720000"/>
          </a:xfrm>
          <a:prstGeom prst="rect">
            <a:avLst/>
          </a:prstGeom>
          <a:solidFill>
            <a:srgbClr val="EE7203"/>
          </a:solidFill>
          <a:ln w="19050">
            <a:solidFill>
              <a:schemeClr val="tx1"/>
            </a:solidFill>
          </a:ln>
        </p:spPr>
        <p:txBody>
          <a:bodyPr wrap="none" rtlCol="0" anchor="ctr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BundesSans Medium" panose="020B0002030500000203" pitchFamily="34" charset="0"/>
              </a:rPr>
              <a:t>Kommando Streitkräftebasis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738917" y="2018186"/>
            <a:ext cx="1552220" cy="1080000"/>
          </a:xfrm>
          <a:prstGeom prst="rect">
            <a:avLst/>
          </a:prstGeom>
          <a:solidFill>
            <a:srgbClr val="4F81BD"/>
          </a:solidFill>
          <a:ln w="19050"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BundesSans Medium" panose="020B0002030500000203" pitchFamily="34" charset="0"/>
              </a:rPr>
              <a:t>Logistik- kommando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  <a:latin typeface="BundesSans Medium" panose="020B0002030500000203" pitchFamily="34" charset="0"/>
              </a:rPr>
              <a:t>der Bundeswehr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2521239" y="2018186"/>
            <a:ext cx="1552220" cy="1080000"/>
          </a:xfrm>
          <a:prstGeom prst="rect">
            <a:avLst/>
          </a:prstGeom>
          <a:solidFill>
            <a:srgbClr val="948A54"/>
          </a:solidFill>
          <a:ln w="19050"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BundesSans Medium" panose="020B0002030500000203" pitchFamily="34" charset="0"/>
              </a:rPr>
              <a:t>Kommando Feldjäger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  <a:latin typeface="BundesSans Medium" panose="020B0002030500000203" pitchFamily="34" charset="0"/>
              </a:rPr>
              <a:t>der Bundeswehr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303561" y="2018186"/>
            <a:ext cx="1552220" cy="1080000"/>
          </a:xfrm>
          <a:prstGeom prst="rect">
            <a:avLst/>
          </a:prstGeom>
          <a:solidFill>
            <a:srgbClr val="953735"/>
          </a:solidFill>
          <a:ln w="19050"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BundesSans Medium" panose="020B0002030500000203" pitchFamily="34" charset="0"/>
              </a:rPr>
              <a:t>ABC-Abwehr- kommando der Bundeswehr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085883" y="2018186"/>
            <a:ext cx="1552220" cy="1080000"/>
          </a:xfrm>
          <a:prstGeom prst="rect">
            <a:avLst/>
          </a:prstGeom>
          <a:solidFill>
            <a:srgbClr val="009900"/>
          </a:solidFill>
          <a:ln w="19050"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BundesSans Medium" panose="020B0002030500000203" pitchFamily="34" charset="0"/>
              </a:rPr>
              <a:t>Kommando Territoriale Aufgaben </a:t>
            </a:r>
            <a:r>
              <a:rPr lang="de-DE" sz="1600">
                <a:solidFill>
                  <a:schemeClr val="bg1"/>
                </a:solidFill>
                <a:latin typeface="BundesSans Medium" panose="020B0002030500000203" pitchFamily="34" charset="0"/>
              </a:rPr>
              <a:t>der Bundeswehr</a:t>
            </a:r>
            <a:endParaRPr lang="de-DE" sz="1600" dirty="0">
              <a:solidFill>
                <a:schemeClr val="bg1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7868205" y="2018186"/>
            <a:ext cx="1552220" cy="1080000"/>
          </a:xfrm>
          <a:prstGeom prst="rect">
            <a:avLst/>
          </a:prstGeom>
          <a:solidFill>
            <a:srgbClr val="F79646"/>
          </a:solidFill>
          <a:ln w="19050"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BundesSans Medium" panose="020B0002030500000203" pitchFamily="34" charset="0"/>
              </a:rPr>
              <a:t>Streitkräfteamt</a:t>
            </a:r>
          </a:p>
        </p:txBody>
      </p:sp>
      <p:cxnSp>
        <p:nvCxnSpPr>
          <p:cNvPr id="14" name="Gerader Verbinder 13"/>
          <p:cNvCxnSpPr/>
          <p:nvPr/>
        </p:nvCxnSpPr>
        <p:spPr>
          <a:xfrm flipV="1">
            <a:off x="1520870" y="1856083"/>
            <a:ext cx="8304506" cy="2859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>
          <a:xfrm flipV="1">
            <a:off x="1531473" y="1854000"/>
            <a:ext cx="2604" cy="17083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 flipV="1">
            <a:off x="3296047" y="1854000"/>
            <a:ext cx="2604" cy="17083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 flipV="1">
            <a:off x="5078369" y="1854000"/>
            <a:ext cx="2604" cy="17083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flipV="1">
            <a:off x="6858087" y="1854000"/>
            <a:ext cx="2604" cy="17083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/>
          <p:nvPr/>
        </p:nvCxnSpPr>
        <p:spPr>
          <a:xfrm flipV="1">
            <a:off x="8640409" y="1854000"/>
            <a:ext cx="2604" cy="17083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/>
          <p:cNvCxnSpPr/>
          <p:nvPr/>
        </p:nvCxnSpPr>
        <p:spPr>
          <a:xfrm flipV="1">
            <a:off x="5977250" y="1685635"/>
            <a:ext cx="2604" cy="170836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r Verbinder 94"/>
          <p:cNvCxnSpPr/>
          <p:nvPr/>
        </p:nvCxnSpPr>
        <p:spPr>
          <a:xfrm flipV="1">
            <a:off x="617978" y="2554147"/>
            <a:ext cx="11776" cy="299732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/>
          <p:cNvCxnSpPr/>
          <p:nvPr/>
        </p:nvCxnSpPr>
        <p:spPr>
          <a:xfrm>
            <a:off x="2400300" y="2558186"/>
            <a:ext cx="120939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/>
          <p:cNvCxnSpPr/>
          <p:nvPr/>
        </p:nvCxnSpPr>
        <p:spPr>
          <a:xfrm>
            <a:off x="617978" y="2558186"/>
            <a:ext cx="120939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r Verbinder 104"/>
          <p:cNvCxnSpPr/>
          <p:nvPr/>
        </p:nvCxnSpPr>
        <p:spPr>
          <a:xfrm>
            <a:off x="4182622" y="2558186"/>
            <a:ext cx="120939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/>
          <p:cNvCxnSpPr/>
          <p:nvPr/>
        </p:nvCxnSpPr>
        <p:spPr>
          <a:xfrm>
            <a:off x="5964944" y="2558186"/>
            <a:ext cx="120939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r Verbinder 106"/>
          <p:cNvCxnSpPr/>
          <p:nvPr/>
        </p:nvCxnSpPr>
        <p:spPr>
          <a:xfrm>
            <a:off x="7747266" y="2554147"/>
            <a:ext cx="120939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109"/>
          <p:cNvCxnSpPr/>
          <p:nvPr/>
        </p:nvCxnSpPr>
        <p:spPr>
          <a:xfrm flipV="1">
            <a:off x="2411814" y="2554147"/>
            <a:ext cx="0" cy="162000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r Verbinder 111"/>
          <p:cNvCxnSpPr/>
          <p:nvPr/>
        </p:nvCxnSpPr>
        <p:spPr>
          <a:xfrm flipV="1">
            <a:off x="5974254" y="2554147"/>
            <a:ext cx="0" cy="299732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/>
          <p:cNvCxnSpPr/>
          <p:nvPr/>
        </p:nvCxnSpPr>
        <p:spPr>
          <a:xfrm flipV="1">
            <a:off x="9802829" y="1850867"/>
            <a:ext cx="13358" cy="415862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r Verbinder 120"/>
          <p:cNvCxnSpPr>
            <a:endCxn id="64" idx="1"/>
          </p:cNvCxnSpPr>
          <p:nvPr/>
        </p:nvCxnSpPr>
        <p:spPr>
          <a:xfrm>
            <a:off x="617978" y="5539152"/>
            <a:ext cx="386553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Gerader Verbinder 121"/>
          <p:cNvCxnSpPr/>
          <p:nvPr/>
        </p:nvCxnSpPr>
        <p:spPr>
          <a:xfrm>
            <a:off x="617978" y="4853673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r Verbinder 122"/>
          <p:cNvCxnSpPr/>
          <p:nvPr/>
        </p:nvCxnSpPr>
        <p:spPr>
          <a:xfrm>
            <a:off x="617978" y="4168194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Gerader Verbinder 123"/>
          <p:cNvCxnSpPr/>
          <p:nvPr/>
        </p:nvCxnSpPr>
        <p:spPr>
          <a:xfrm>
            <a:off x="617978" y="3478743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Gerader Verbinder 124"/>
          <p:cNvCxnSpPr/>
          <p:nvPr/>
        </p:nvCxnSpPr>
        <p:spPr>
          <a:xfrm>
            <a:off x="2400300" y="3478743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Gerader Verbinder 125"/>
          <p:cNvCxnSpPr/>
          <p:nvPr/>
        </p:nvCxnSpPr>
        <p:spPr>
          <a:xfrm>
            <a:off x="2408438" y="4168194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Gerader Verbinder 130"/>
          <p:cNvCxnSpPr/>
          <p:nvPr/>
        </p:nvCxnSpPr>
        <p:spPr>
          <a:xfrm>
            <a:off x="4174484" y="3475172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Gerader Verbinder 131"/>
          <p:cNvCxnSpPr/>
          <p:nvPr/>
        </p:nvCxnSpPr>
        <p:spPr>
          <a:xfrm>
            <a:off x="4182622" y="4164623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r Verbinder 133"/>
          <p:cNvCxnSpPr/>
          <p:nvPr/>
        </p:nvCxnSpPr>
        <p:spPr>
          <a:xfrm>
            <a:off x="5974254" y="5539152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Gerader Verbinder 134"/>
          <p:cNvCxnSpPr/>
          <p:nvPr/>
        </p:nvCxnSpPr>
        <p:spPr>
          <a:xfrm>
            <a:off x="5974254" y="4853673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r Verbinder 135"/>
          <p:cNvCxnSpPr/>
          <p:nvPr/>
        </p:nvCxnSpPr>
        <p:spPr>
          <a:xfrm>
            <a:off x="5974254" y="4168194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Gerader Verbinder 136"/>
          <p:cNvCxnSpPr/>
          <p:nvPr/>
        </p:nvCxnSpPr>
        <p:spPr>
          <a:xfrm>
            <a:off x="5974254" y="3478743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r Verbinder 137"/>
          <p:cNvCxnSpPr/>
          <p:nvPr/>
        </p:nvCxnSpPr>
        <p:spPr>
          <a:xfrm>
            <a:off x="7747266" y="6224631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Gerader Verbinder 138"/>
          <p:cNvCxnSpPr/>
          <p:nvPr/>
        </p:nvCxnSpPr>
        <p:spPr>
          <a:xfrm>
            <a:off x="7747266" y="5539152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Gerader Verbinder 139"/>
          <p:cNvCxnSpPr/>
          <p:nvPr/>
        </p:nvCxnSpPr>
        <p:spPr>
          <a:xfrm>
            <a:off x="7747266" y="4853673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Gerader Verbinder 140"/>
          <p:cNvCxnSpPr/>
          <p:nvPr/>
        </p:nvCxnSpPr>
        <p:spPr>
          <a:xfrm>
            <a:off x="7747266" y="4168194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r Verbinder 141"/>
          <p:cNvCxnSpPr/>
          <p:nvPr/>
        </p:nvCxnSpPr>
        <p:spPr>
          <a:xfrm>
            <a:off x="7747266" y="3478743"/>
            <a:ext cx="50999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Gerader Verbinder 142"/>
          <p:cNvCxnSpPr/>
          <p:nvPr/>
        </p:nvCxnSpPr>
        <p:spPr>
          <a:xfrm flipV="1">
            <a:off x="7753513" y="2542609"/>
            <a:ext cx="2250" cy="3670484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Gerader Verbinder 144"/>
          <p:cNvCxnSpPr/>
          <p:nvPr/>
        </p:nvCxnSpPr>
        <p:spPr>
          <a:xfrm flipV="1">
            <a:off x="4182622" y="2542609"/>
            <a:ext cx="0" cy="162000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Gerader Verbinder 148"/>
          <p:cNvCxnSpPr/>
          <p:nvPr/>
        </p:nvCxnSpPr>
        <p:spPr>
          <a:xfrm>
            <a:off x="9809508" y="4830840"/>
            <a:ext cx="397427" cy="4039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hteck 154"/>
          <p:cNvSpPr/>
          <p:nvPr/>
        </p:nvSpPr>
        <p:spPr>
          <a:xfrm>
            <a:off x="10200957" y="3172743"/>
            <a:ext cx="1551600" cy="1080000"/>
          </a:xfrm>
          <a:prstGeom prst="rect">
            <a:avLst/>
          </a:prstGeom>
          <a:solidFill>
            <a:srgbClr val="37609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BundesSans Medium" panose="020B0002030500000203" pitchFamily="34" charset="0"/>
              </a:rPr>
              <a:t>Amt für Militärkunde</a:t>
            </a:r>
          </a:p>
        </p:txBody>
      </p:sp>
      <p:sp>
        <p:nvSpPr>
          <p:cNvPr id="156" name="Rechteck 155"/>
          <p:cNvSpPr/>
          <p:nvPr/>
        </p:nvSpPr>
        <p:spPr>
          <a:xfrm>
            <a:off x="10200957" y="4324200"/>
            <a:ext cx="1551600" cy="1080000"/>
          </a:xfrm>
          <a:prstGeom prst="rect">
            <a:avLst/>
          </a:prstGeom>
          <a:solidFill>
            <a:srgbClr val="37609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BundesSans Medium" panose="020B0002030500000203" pitchFamily="34" charset="0"/>
              </a:rPr>
              <a:t>Bundes- </a:t>
            </a:r>
            <a:r>
              <a:rPr lang="de-DE" sz="1600" dirty="0" err="1">
                <a:solidFill>
                  <a:schemeClr val="bg1"/>
                </a:solidFill>
                <a:latin typeface="BundesSans Medium" panose="020B0002030500000203" pitchFamily="34" charset="0"/>
              </a:rPr>
              <a:t>akademie</a:t>
            </a:r>
            <a:r>
              <a:rPr lang="de-DE" sz="1600" dirty="0">
                <a:solidFill>
                  <a:schemeClr val="bg1"/>
                </a:solidFill>
                <a:latin typeface="BundesSans Medium" panose="020B0002030500000203" pitchFamily="34" charset="0"/>
              </a:rPr>
              <a:t> für Sicherheits- </a:t>
            </a:r>
            <a:r>
              <a:rPr lang="de-DE" sz="1600" dirty="0" err="1">
                <a:solidFill>
                  <a:schemeClr val="bg1"/>
                </a:solidFill>
                <a:latin typeface="BundesSans Medium" panose="020B0002030500000203" pitchFamily="34" charset="0"/>
              </a:rPr>
              <a:t>politik</a:t>
            </a:r>
            <a:endParaRPr lang="de-DE" sz="1600" dirty="0">
              <a:solidFill>
                <a:schemeClr val="bg1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157" name="Rechteck 156"/>
          <p:cNvSpPr/>
          <p:nvPr/>
        </p:nvSpPr>
        <p:spPr>
          <a:xfrm>
            <a:off x="10200957" y="5475657"/>
            <a:ext cx="1551600" cy="1080000"/>
          </a:xfrm>
          <a:prstGeom prst="rect">
            <a:avLst/>
          </a:prstGeom>
          <a:solidFill>
            <a:srgbClr val="37609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  <a:latin typeface="BundesSans Medium" panose="020B0002030500000203" pitchFamily="34" charset="0"/>
              </a:rPr>
              <a:t>Deutscher Militärischer Vertreter der NATO &amp; EU</a:t>
            </a:r>
          </a:p>
        </p:txBody>
      </p:sp>
      <p:cxnSp>
        <p:nvCxnSpPr>
          <p:cNvPr id="161" name="Gerader Verbinder 160"/>
          <p:cNvCxnSpPr/>
          <p:nvPr/>
        </p:nvCxnSpPr>
        <p:spPr>
          <a:xfrm>
            <a:off x="9795202" y="3692494"/>
            <a:ext cx="397427" cy="4039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Gerader Verbinder 161"/>
          <p:cNvCxnSpPr/>
          <p:nvPr/>
        </p:nvCxnSpPr>
        <p:spPr>
          <a:xfrm>
            <a:off x="9803530" y="2558716"/>
            <a:ext cx="397427" cy="4039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Gerader Verbinder 162"/>
          <p:cNvCxnSpPr/>
          <p:nvPr/>
        </p:nvCxnSpPr>
        <p:spPr>
          <a:xfrm>
            <a:off x="9795201" y="6005455"/>
            <a:ext cx="397427" cy="4039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/>
          <p:cNvSpPr/>
          <p:nvPr/>
        </p:nvSpPr>
        <p:spPr>
          <a:xfrm>
            <a:off x="1004531" y="3862194"/>
            <a:ext cx="1280359" cy="612000"/>
          </a:xfrm>
          <a:prstGeom prst="rect">
            <a:avLst/>
          </a:prstGeom>
          <a:solidFill>
            <a:srgbClr val="95B3D7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  <a:latin typeface="BundesSans Medium" panose="020B0002030500000203" pitchFamily="34" charset="0"/>
              </a:rPr>
              <a:t>Logistikzentrum der Bundeswehr</a:t>
            </a:r>
          </a:p>
        </p:txBody>
      </p:sp>
      <p:sp>
        <p:nvSpPr>
          <p:cNvPr id="63" name="Rechteck 62"/>
          <p:cNvSpPr/>
          <p:nvPr/>
        </p:nvSpPr>
        <p:spPr>
          <a:xfrm>
            <a:off x="1004531" y="4547673"/>
            <a:ext cx="1280359" cy="612000"/>
          </a:xfrm>
          <a:prstGeom prst="rect">
            <a:avLst/>
          </a:prstGeom>
          <a:solidFill>
            <a:srgbClr val="95B3D7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BundesSans Medium" panose="020B0002030500000203" pitchFamily="34" charset="0"/>
              </a:rPr>
              <a:t>1x Logistik-Regiment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  <a:latin typeface="BundesSans Medium" panose="020B0002030500000203" pitchFamily="34" charset="0"/>
              </a:rPr>
              <a:t>6x Logistik- Bataillon</a:t>
            </a:r>
          </a:p>
          <a:p>
            <a:pPr algn="ctr"/>
            <a:r>
              <a:rPr lang="de-DE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BundesSans Medium" panose="020B0002030500000203" pitchFamily="34" charset="0"/>
              </a:rPr>
              <a:t>1x RSOM-Bataillon</a:t>
            </a:r>
          </a:p>
        </p:txBody>
      </p:sp>
      <p:sp>
        <p:nvSpPr>
          <p:cNvPr id="64" name="Rechteck 63"/>
          <p:cNvSpPr/>
          <p:nvPr/>
        </p:nvSpPr>
        <p:spPr>
          <a:xfrm>
            <a:off x="1004531" y="5233152"/>
            <a:ext cx="1280359" cy="612000"/>
          </a:xfrm>
          <a:prstGeom prst="rect">
            <a:avLst/>
          </a:prstGeom>
          <a:solidFill>
            <a:srgbClr val="95B3D7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  <a:latin typeface="BundesSans Medium" panose="020B0002030500000203" pitchFamily="34" charset="0"/>
              </a:rPr>
              <a:t>Spezialpioner- regiment 164</a:t>
            </a:r>
          </a:p>
        </p:txBody>
      </p:sp>
      <p:sp>
        <p:nvSpPr>
          <p:cNvPr id="66" name="Rechteck 65"/>
          <p:cNvSpPr/>
          <p:nvPr/>
        </p:nvSpPr>
        <p:spPr>
          <a:xfrm>
            <a:off x="2785770" y="3172743"/>
            <a:ext cx="1287690" cy="612000"/>
          </a:xfrm>
          <a:prstGeom prst="rect">
            <a:avLst/>
          </a:prstGeom>
          <a:solidFill>
            <a:srgbClr val="DDD9C3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  <a:latin typeface="BundesSans Medium" panose="020B0002030500000203" pitchFamily="34" charset="0"/>
              </a:rPr>
              <a:t>Schule der Feldjäger und Stabsdienst</a:t>
            </a:r>
          </a:p>
        </p:txBody>
      </p:sp>
      <p:sp>
        <p:nvSpPr>
          <p:cNvPr id="67" name="Rechteck 66"/>
          <p:cNvSpPr/>
          <p:nvPr/>
        </p:nvSpPr>
        <p:spPr>
          <a:xfrm>
            <a:off x="2785770" y="3862194"/>
            <a:ext cx="1287689" cy="612000"/>
          </a:xfrm>
          <a:prstGeom prst="rect">
            <a:avLst/>
          </a:prstGeom>
          <a:solidFill>
            <a:srgbClr val="DDD9C3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  <a:latin typeface="BundesSans Medium" panose="020B0002030500000203" pitchFamily="34" charset="0"/>
              </a:rPr>
              <a:t>3x Feldjäger- regiment</a:t>
            </a:r>
          </a:p>
        </p:txBody>
      </p:sp>
      <p:sp>
        <p:nvSpPr>
          <p:cNvPr id="71" name="Rechteck 70"/>
          <p:cNvSpPr/>
          <p:nvPr/>
        </p:nvSpPr>
        <p:spPr>
          <a:xfrm>
            <a:off x="4565027" y="3172743"/>
            <a:ext cx="1290754" cy="612000"/>
          </a:xfrm>
          <a:prstGeom prst="rect">
            <a:avLst/>
          </a:prstGeom>
          <a:solidFill>
            <a:srgbClr val="E6B9B8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/>
                </a:solidFill>
                <a:latin typeface="BundesSans Medium" panose="020B0002030500000203" pitchFamily="34" charset="0"/>
              </a:rPr>
              <a:t>Schule ABC-Abwehr und Gesetzliche Schutzaufgaben</a:t>
            </a:r>
          </a:p>
        </p:txBody>
      </p:sp>
      <p:sp>
        <p:nvSpPr>
          <p:cNvPr id="72" name="Rechteck 71"/>
          <p:cNvSpPr/>
          <p:nvPr/>
        </p:nvSpPr>
        <p:spPr>
          <a:xfrm>
            <a:off x="4557400" y="3862194"/>
            <a:ext cx="1298381" cy="612000"/>
          </a:xfrm>
          <a:prstGeom prst="rect">
            <a:avLst/>
          </a:prstGeom>
          <a:solidFill>
            <a:srgbClr val="E6B9B8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BundesSans Medium" panose="020B0002030500000203" pitchFamily="34" charset="0"/>
              </a:rPr>
              <a:t>3x ABC-Abwehrregiment</a:t>
            </a:r>
          </a:p>
        </p:txBody>
      </p:sp>
      <p:sp>
        <p:nvSpPr>
          <p:cNvPr id="76" name="Rechteck 75"/>
          <p:cNvSpPr/>
          <p:nvPr/>
        </p:nvSpPr>
        <p:spPr>
          <a:xfrm>
            <a:off x="6349032" y="3172743"/>
            <a:ext cx="1289071" cy="612000"/>
          </a:xfrm>
          <a:prstGeom prst="rect">
            <a:avLst/>
          </a:prstGeom>
          <a:solidFill>
            <a:srgbClr val="D5FFEE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rgbClr val="4D4D4D"/>
                </a:solidFill>
                <a:latin typeface="BundesSans Medium" panose="020B0002030500000203" pitchFamily="34" charset="0"/>
              </a:rPr>
              <a:t>16x Landes- kommando</a:t>
            </a:r>
          </a:p>
        </p:txBody>
      </p:sp>
      <p:sp>
        <p:nvSpPr>
          <p:cNvPr id="77" name="Rechteck 76"/>
          <p:cNvSpPr/>
          <p:nvPr/>
        </p:nvSpPr>
        <p:spPr>
          <a:xfrm>
            <a:off x="6363525" y="3862194"/>
            <a:ext cx="1274578" cy="612000"/>
          </a:xfrm>
          <a:prstGeom prst="rect">
            <a:avLst/>
          </a:prstGeom>
          <a:solidFill>
            <a:srgbClr val="D5FFEE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dirty="0">
                <a:solidFill>
                  <a:schemeClr val="tx1"/>
                </a:solidFill>
                <a:latin typeface="BundesSans Medium" panose="020B0002030500000203" pitchFamily="34" charset="0"/>
              </a:rPr>
              <a:t>Zentrum Zivil-Militärische Zusammenarbeit</a:t>
            </a:r>
          </a:p>
        </p:txBody>
      </p:sp>
      <p:sp>
        <p:nvSpPr>
          <p:cNvPr id="78" name="Rechteck 77"/>
          <p:cNvSpPr/>
          <p:nvPr/>
        </p:nvSpPr>
        <p:spPr>
          <a:xfrm>
            <a:off x="6349032" y="4547673"/>
            <a:ext cx="1289071" cy="612000"/>
          </a:xfrm>
          <a:prstGeom prst="rect">
            <a:avLst/>
          </a:prstGeom>
          <a:solidFill>
            <a:srgbClr val="D5FFEE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  <a:latin typeface="BundesSans Medium" panose="020B0002030500000203" pitchFamily="34" charset="0"/>
              </a:rPr>
              <a:t>Wachbataillon beim </a:t>
            </a:r>
            <a:r>
              <a:rPr lang="de-DE" sz="1100" dirty="0" err="1">
                <a:solidFill>
                  <a:schemeClr val="tx1"/>
                </a:solidFill>
                <a:latin typeface="BundesSans Medium" panose="020B0002030500000203" pitchFamily="34" charset="0"/>
              </a:rPr>
              <a:t>BMVg</a:t>
            </a:r>
            <a:endParaRPr lang="de-DE" sz="1100" dirty="0">
              <a:solidFill>
                <a:schemeClr val="tx1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6349031" y="5233152"/>
            <a:ext cx="1289072" cy="612000"/>
          </a:xfrm>
          <a:prstGeom prst="rect">
            <a:avLst/>
          </a:prstGeom>
          <a:solidFill>
            <a:srgbClr val="D5FFEE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/>
                </a:solidFill>
                <a:latin typeface="BundesSans Medium" panose="020B0002030500000203" pitchFamily="34" charset="0"/>
              </a:rPr>
              <a:t>3x Bereich Truppen- übungsplatz- </a:t>
            </a:r>
            <a:r>
              <a:rPr lang="de-DE" sz="1000" dirty="0" err="1">
                <a:solidFill>
                  <a:schemeClr val="tx1"/>
                </a:solidFill>
                <a:latin typeface="BundesSans Medium" panose="020B0002030500000203" pitchFamily="34" charset="0"/>
              </a:rPr>
              <a:t>kommandantur</a:t>
            </a:r>
            <a:endParaRPr lang="de-DE" sz="1000" dirty="0">
              <a:solidFill>
                <a:schemeClr val="tx1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81" name="Rechteck 80"/>
          <p:cNvSpPr/>
          <p:nvPr/>
        </p:nvSpPr>
        <p:spPr>
          <a:xfrm>
            <a:off x="8138167" y="3172743"/>
            <a:ext cx="1282258" cy="612000"/>
          </a:xfrm>
          <a:prstGeom prst="rect">
            <a:avLst/>
          </a:prstGeom>
          <a:solidFill>
            <a:srgbClr val="FCD5B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/>
                </a:solidFill>
                <a:latin typeface="BundesSans Medium" panose="020B0002030500000203" pitchFamily="34" charset="0"/>
              </a:rPr>
              <a:t>Zentrum für Verifikations- aufgaben der Bundeswehr</a:t>
            </a:r>
          </a:p>
        </p:txBody>
      </p:sp>
      <p:sp>
        <p:nvSpPr>
          <p:cNvPr id="82" name="Rechteck 81"/>
          <p:cNvSpPr/>
          <p:nvPr/>
        </p:nvSpPr>
        <p:spPr>
          <a:xfrm>
            <a:off x="8138167" y="3862194"/>
            <a:ext cx="1282258" cy="612000"/>
          </a:xfrm>
          <a:prstGeom prst="rect">
            <a:avLst/>
          </a:prstGeom>
          <a:solidFill>
            <a:srgbClr val="FCD5B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/>
                </a:solidFill>
                <a:latin typeface="BundesSans Medium" panose="020B0002030500000203" pitchFamily="34" charset="0"/>
              </a:rPr>
              <a:t>Schule für Diensthundewesen der Bundeswehr</a:t>
            </a:r>
          </a:p>
        </p:txBody>
      </p:sp>
      <p:sp>
        <p:nvSpPr>
          <p:cNvPr id="83" name="Rechteck 82"/>
          <p:cNvSpPr/>
          <p:nvPr/>
        </p:nvSpPr>
        <p:spPr>
          <a:xfrm>
            <a:off x="8138167" y="4547673"/>
            <a:ext cx="1282258" cy="612000"/>
          </a:xfrm>
          <a:prstGeom prst="rect">
            <a:avLst/>
          </a:prstGeom>
          <a:solidFill>
            <a:srgbClr val="FCD5B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80" dirty="0">
                <a:solidFill>
                  <a:schemeClr val="tx1"/>
                </a:solidFill>
                <a:latin typeface="BundesSans Medium" panose="020B0002030500000203" pitchFamily="34" charset="0"/>
              </a:rPr>
              <a:t>Zentrum für Informationsarbeit der Bundeswehr</a:t>
            </a:r>
          </a:p>
        </p:txBody>
      </p:sp>
      <p:sp>
        <p:nvSpPr>
          <p:cNvPr id="84" name="Rechteck 83"/>
          <p:cNvSpPr/>
          <p:nvPr/>
        </p:nvSpPr>
        <p:spPr>
          <a:xfrm>
            <a:off x="8138167" y="5233152"/>
            <a:ext cx="1282258" cy="612000"/>
          </a:xfrm>
          <a:prstGeom prst="rect">
            <a:avLst/>
          </a:prstGeom>
          <a:solidFill>
            <a:srgbClr val="FCD5B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  <a:latin typeface="BundesSans Medium" panose="020B0002030500000203" pitchFamily="34" charset="0"/>
              </a:rPr>
              <a:t>Zentrum Militärmusik der Bundeswehr</a:t>
            </a:r>
          </a:p>
        </p:txBody>
      </p:sp>
      <p:sp>
        <p:nvSpPr>
          <p:cNvPr id="85" name="Rechteck 84"/>
          <p:cNvSpPr/>
          <p:nvPr/>
        </p:nvSpPr>
        <p:spPr>
          <a:xfrm>
            <a:off x="8138167" y="5918631"/>
            <a:ext cx="1282258" cy="612000"/>
          </a:xfrm>
          <a:prstGeom prst="rect">
            <a:avLst/>
          </a:prstGeom>
          <a:solidFill>
            <a:srgbClr val="FCD5B5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  <a:latin typeface="BundesSans Medium" panose="020B0002030500000203" pitchFamily="34" charset="0"/>
              </a:rPr>
              <a:t>Sportschule der Bundeswehr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1004531" y="3176716"/>
            <a:ext cx="1280359" cy="612000"/>
          </a:xfrm>
          <a:prstGeom prst="rect">
            <a:avLst/>
          </a:prstGeom>
          <a:solidFill>
            <a:srgbClr val="95B3D7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dirty="0">
                <a:solidFill>
                  <a:schemeClr val="tx1"/>
                </a:solidFill>
                <a:latin typeface="BundesSans Medium" panose="020B0002030500000203" pitchFamily="34" charset="0"/>
              </a:rPr>
              <a:t>Logistikschule der Bundeswehr</a:t>
            </a:r>
          </a:p>
        </p:txBody>
      </p:sp>
      <p:sp>
        <p:nvSpPr>
          <p:cNvPr id="73" name="Rechteck 72"/>
          <p:cNvSpPr/>
          <p:nvPr/>
        </p:nvSpPr>
        <p:spPr>
          <a:xfrm>
            <a:off x="10200957" y="2018186"/>
            <a:ext cx="1551600" cy="1080000"/>
          </a:xfrm>
          <a:prstGeom prst="rect">
            <a:avLst/>
          </a:prstGeom>
          <a:solidFill>
            <a:srgbClr val="376092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50" dirty="0">
                <a:solidFill>
                  <a:schemeClr val="bg1"/>
                </a:solidFill>
                <a:latin typeface="BundesSans Medium" panose="020B0002030500000203" pitchFamily="34" charset="0"/>
              </a:rPr>
              <a:t>Multinationales Kommando Operative Führung </a:t>
            </a:r>
          </a:p>
          <a:p>
            <a:pPr algn="ctr"/>
            <a:endParaRPr lang="de-DE" sz="1050" dirty="0">
              <a:solidFill>
                <a:schemeClr val="bg1"/>
              </a:solidFill>
              <a:latin typeface="BundesSans Medium" panose="020B0002030500000203" pitchFamily="34" charset="0"/>
            </a:endParaRPr>
          </a:p>
          <a:p>
            <a:pPr algn="ctr"/>
            <a:endParaRPr lang="de-DE" sz="1100" dirty="0">
              <a:solidFill>
                <a:schemeClr val="bg1"/>
              </a:solidFill>
              <a:latin typeface="BundesSans Medium" panose="020B0002030500000203" pitchFamily="34" charset="0"/>
            </a:endParaRPr>
          </a:p>
          <a:p>
            <a:pPr algn="ctr"/>
            <a:endParaRPr lang="de-DE" sz="1100" dirty="0">
              <a:solidFill>
                <a:schemeClr val="bg1"/>
              </a:solidFill>
              <a:latin typeface="BundesSans Medium" panose="020B0002030500000203" pitchFamily="34" charset="0"/>
            </a:endParaRPr>
          </a:p>
        </p:txBody>
      </p:sp>
      <p:sp>
        <p:nvSpPr>
          <p:cNvPr id="74" name="Textfeld 73"/>
          <p:cNvSpPr txBox="1"/>
          <p:nvPr/>
        </p:nvSpPr>
        <p:spPr>
          <a:xfrm>
            <a:off x="10328869" y="2583567"/>
            <a:ext cx="1294267" cy="400110"/>
          </a:xfrm>
          <a:prstGeom prst="rect">
            <a:avLst/>
          </a:prstGeom>
          <a:solidFill>
            <a:srgbClr val="F79646"/>
          </a:solidFill>
          <a:ln w="19050"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e-DE" sz="1000" dirty="0">
                <a:solidFill>
                  <a:schemeClr val="bg1"/>
                </a:solidFill>
                <a:latin typeface="BundesSans Medium" panose="020B0002030500000203" pitchFamily="34" charset="0"/>
              </a:rPr>
              <a:t>Joint Support </a:t>
            </a:r>
            <a:r>
              <a:rPr lang="de-DE" sz="1000" dirty="0" err="1">
                <a:solidFill>
                  <a:schemeClr val="bg1"/>
                </a:solidFill>
                <a:latin typeface="BundesSans Medium" panose="020B0002030500000203" pitchFamily="34" charset="0"/>
              </a:rPr>
              <a:t>and</a:t>
            </a:r>
            <a:r>
              <a:rPr lang="de-DE" sz="1000" dirty="0">
                <a:solidFill>
                  <a:schemeClr val="bg1"/>
                </a:solidFill>
                <a:latin typeface="BundesSans Medium" panose="020B0002030500000203" pitchFamily="34" charset="0"/>
              </a:rPr>
              <a:t> </a:t>
            </a:r>
            <a:r>
              <a:rPr lang="de-DE" sz="1000" dirty="0" err="1">
                <a:solidFill>
                  <a:schemeClr val="bg1"/>
                </a:solidFill>
                <a:latin typeface="BundesSans Medium" panose="020B0002030500000203" pitchFamily="34" charset="0"/>
              </a:rPr>
              <a:t>Enabling</a:t>
            </a:r>
            <a:r>
              <a:rPr lang="de-DE" sz="1000" dirty="0">
                <a:solidFill>
                  <a:schemeClr val="bg1"/>
                </a:solidFill>
                <a:latin typeface="BundesSans Medium" panose="020B0002030500000203" pitchFamily="34" charset="0"/>
              </a:rPr>
              <a:t> Command</a:t>
            </a:r>
          </a:p>
        </p:txBody>
      </p:sp>
      <p:sp>
        <p:nvSpPr>
          <p:cNvPr id="75" name="Textfeld 74"/>
          <p:cNvSpPr txBox="1"/>
          <p:nvPr/>
        </p:nvSpPr>
        <p:spPr>
          <a:xfrm>
            <a:off x="352295" y="6640312"/>
            <a:ext cx="1440000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itkräftebasis</a:t>
            </a:r>
          </a:p>
        </p:txBody>
      </p:sp>
    </p:spTree>
    <p:extLst>
      <p:ext uri="{BB962C8B-B14F-4D97-AF65-F5344CB8AC3E}">
        <p14:creationId xmlns:p14="http://schemas.microsoft.com/office/powerpoint/2010/main" val="252681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5807" y="1021718"/>
            <a:ext cx="9429860" cy="53042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efährdungen und </a:t>
            </a:r>
            <a:r>
              <a:rPr lang="de-DE" dirty="0" err="1"/>
              <a:t>risiken</a:t>
            </a:r>
            <a:r>
              <a:rPr lang="de-DE" dirty="0"/>
              <a:t> aus Süden / </a:t>
            </a:r>
            <a:r>
              <a:rPr lang="de-DE" dirty="0" err="1"/>
              <a:t>südos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22" name="Textfeld 21"/>
          <p:cNvSpPr txBox="1"/>
          <p:nvPr/>
        </p:nvSpPr>
        <p:spPr>
          <a:xfrm>
            <a:off x="8604725" y="1336255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38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5956" y="1240228"/>
            <a:ext cx="2481582" cy="165335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2" name="Grafik 3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6824" y="4750400"/>
            <a:ext cx="1914311" cy="143573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1837" y="1289971"/>
            <a:ext cx="2083841" cy="17190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1837" y="3238545"/>
            <a:ext cx="2080744" cy="173470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5619749" y="2250656"/>
            <a:ext cx="2490501" cy="18552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56287" y="3110238"/>
            <a:ext cx="2444626" cy="202337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509166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 anchor="b" anchorCtr="0">
            <a:noAutofit/>
          </a:bodyPr>
          <a:lstStyle/>
          <a:p>
            <a:pPr>
              <a:buClr>
                <a:schemeClr val="tx2"/>
              </a:buClr>
              <a:buFont typeface="Wingdings" pitchFamily="2" charset="2"/>
            </a:pPr>
            <a:r>
              <a:rPr lang="de-DE" dirty="0">
                <a:solidFill>
                  <a:schemeClr val="bg1"/>
                </a:solidFill>
              </a:rPr>
              <a:t>Eins</a:t>
            </a:r>
            <a:r>
              <a:rPr lang="de-DE" dirty="0"/>
              <a:t>ätze</a:t>
            </a:r>
            <a:r>
              <a:rPr lang="de-DE" dirty="0">
                <a:solidFill>
                  <a:schemeClr val="bg1"/>
                </a:solidFill>
              </a:rPr>
              <a:t> und anerkannte Missionen der Bundeswehr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47496" y="804872"/>
            <a:ext cx="8456977" cy="5813128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Rechteck 13"/>
          <p:cNvSpPr/>
          <p:nvPr/>
        </p:nvSpPr>
        <p:spPr bwMode="auto">
          <a:xfrm>
            <a:off x="8149125" y="5985673"/>
            <a:ext cx="1692000" cy="360000"/>
          </a:xfrm>
          <a:prstGeom prst="rect">
            <a:avLst/>
          </a:prstGeom>
          <a:solidFill>
            <a:srgbClr val="FFFFFF"/>
          </a:solidFill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0"/>
          <a:lstStyle/>
          <a:p>
            <a:pPr marL="0" marR="0" lvl="0" indent="0" algn="ctr" defTabSz="685800" eaLnBrk="0" fontAlgn="auto" latinLnBrk="0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 Arial"/>
              </a:rPr>
              <a:t>Schwerpunkte SKB</a:t>
            </a:r>
          </a:p>
        </p:txBody>
      </p:sp>
      <p:sp>
        <p:nvSpPr>
          <p:cNvPr id="15" name="Rechteck 14"/>
          <p:cNvSpPr/>
          <p:nvPr/>
        </p:nvSpPr>
        <p:spPr bwMode="auto">
          <a:xfrm>
            <a:off x="2582464" y="5370775"/>
            <a:ext cx="1692000" cy="360000"/>
          </a:xfrm>
          <a:prstGeom prst="rect">
            <a:avLst/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b" anchorCtr="0"/>
          <a:lstStyle/>
          <a:p>
            <a:pPr algn="ctr" defTabSz="685800" eaLnBrk="0" hangingPunct="0">
              <a:lnSpc>
                <a:spcPct val="85000"/>
              </a:lnSpc>
              <a:defRPr/>
            </a:pPr>
            <a:endParaRPr lang="de-DE" sz="12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2402848" y="4853570"/>
            <a:ext cx="1692000" cy="360000"/>
          </a:xfrm>
          <a:prstGeom prst="rect">
            <a:avLst/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b" anchorCtr="0"/>
          <a:lstStyle/>
          <a:p>
            <a:pPr algn="ctr" defTabSz="685800" eaLnBrk="0" hangingPunct="0">
              <a:lnSpc>
                <a:spcPct val="85000"/>
              </a:lnSpc>
              <a:defRPr/>
            </a:pPr>
            <a:endParaRPr lang="de-DE" sz="12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8330399" y="2681142"/>
            <a:ext cx="1692000" cy="360000"/>
          </a:xfrm>
          <a:prstGeom prst="rect">
            <a:avLst/>
          </a:prstGeom>
          <a:noFill/>
          <a:ln w="38100" cap="flat" cmpd="sng" algn="ctr">
            <a:solidFill>
              <a:srgbClr val="FF99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b" anchorCtr="0"/>
          <a:lstStyle/>
          <a:p>
            <a:pPr algn="ctr" defTabSz="685800" eaLnBrk="0" hangingPunct="0">
              <a:lnSpc>
                <a:spcPct val="85000"/>
              </a:lnSpc>
              <a:defRPr/>
            </a:pPr>
            <a:endParaRPr lang="de-DE" sz="1200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7981950" y="823002"/>
            <a:ext cx="2770987" cy="209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916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Aggressivere Aufstellung Russlands</a:t>
            </a:r>
            <a:endParaRPr lang="de-DE" dirty="0"/>
          </a:p>
        </p:txBody>
      </p:sp>
      <p:sp>
        <p:nvSpPr>
          <p:cNvPr id="46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Streitkräftebasis</a:t>
            </a:r>
            <a:endParaRPr lang="de-DE" dirty="0"/>
          </a:p>
        </p:txBody>
      </p:sp>
      <p:sp>
        <p:nvSpPr>
          <p:cNvPr id="33" name="Pfeil nach rechts 32"/>
          <p:cNvSpPr/>
          <p:nvPr/>
        </p:nvSpPr>
        <p:spPr>
          <a:xfrm>
            <a:off x="304653" y="905638"/>
            <a:ext cx="11520000" cy="720000"/>
          </a:xfrm>
          <a:prstGeom prst="rightArrow">
            <a:avLst>
              <a:gd name="adj1" fmla="val 50000"/>
              <a:gd name="adj2" fmla="val 36771"/>
            </a:avLst>
          </a:prstGeom>
          <a:solidFill>
            <a:srgbClr val="A6B8C3">
              <a:lumMod val="20000"/>
              <a:lumOff val="80000"/>
            </a:srgbClr>
          </a:solidFill>
          <a:ln w="9525">
            <a:solidFill>
              <a:srgbClr val="000000">
                <a:lumMod val="75000"/>
                <a:lumOff val="25000"/>
              </a:srgbClr>
            </a:solidFill>
            <a:miter lim="800000"/>
            <a:headEnd/>
            <a:tailEnd/>
          </a:ln>
        </p:spPr>
        <p:txBody>
          <a:bodyPr wrap="square" anchor="ctr">
            <a:noAutofit/>
          </a:bodyPr>
          <a:lstStyle/>
          <a:p>
            <a:pPr marL="0" marR="0" lvl="0" indent="0" algn="ctr" defTabSz="685800" eaLnBrk="0" fontAlgn="auto" latinLnBrk="0" hangingPunct="0">
              <a:lnSpc>
                <a:spcPts val="1500"/>
              </a:lnSpc>
              <a:spcBef>
                <a:spcPts val="15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311530" y="1095163"/>
            <a:ext cx="144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2014</a:t>
            </a:r>
          </a:p>
        </p:txBody>
      </p:sp>
      <p:sp>
        <p:nvSpPr>
          <p:cNvPr id="42" name="Rechteck 41"/>
          <p:cNvSpPr/>
          <p:nvPr/>
        </p:nvSpPr>
        <p:spPr>
          <a:xfrm>
            <a:off x="1742743" y="1095163"/>
            <a:ext cx="144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2015</a:t>
            </a:r>
          </a:p>
        </p:txBody>
      </p:sp>
      <p:sp>
        <p:nvSpPr>
          <p:cNvPr id="43" name="Rechteck 42"/>
          <p:cNvSpPr/>
          <p:nvPr/>
        </p:nvSpPr>
        <p:spPr>
          <a:xfrm>
            <a:off x="3195193" y="1095515"/>
            <a:ext cx="144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2016</a:t>
            </a:r>
          </a:p>
        </p:txBody>
      </p:sp>
      <p:sp>
        <p:nvSpPr>
          <p:cNvPr id="44" name="Rechteck 43"/>
          <p:cNvSpPr/>
          <p:nvPr/>
        </p:nvSpPr>
        <p:spPr>
          <a:xfrm>
            <a:off x="4666693" y="1095515"/>
            <a:ext cx="144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2017</a:t>
            </a:r>
          </a:p>
        </p:txBody>
      </p:sp>
      <p:sp>
        <p:nvSpPr>
          <p:cNvPr id="45" name="Rechteck 44"/>
          <p:cNvSpPr/>
          <p:nvPr/>
        </p:nvSpPr>
        <p:spPr>
          <a:xfrm>
            <a:off x="6108406" y="1095163"/>
            <a:ext cx="144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2018</a:t>
            </a:r>
          </a:p>
        </p:txBody>
      </p:sp>
      <p:sp>
        <p:nvSpPr>
          <p:cNvPr id="79" name="Rechteck 78"/>
          <p:cNvSpPr/>
          <p:nvPr/>
        </p:nvSpPr>
        <p:spPr>
          <a:xfrm>
            <a:off x="7539214" y="1095163"/>
            <a:ext cx="144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2018</a:t>
            </a:r>
          </a:p>
        </p:txBody>
      </p:sp>
      <p:sp>
        <p:nvSpPr>
          <p:cNvPr id="80" name="Rechteck 79"/>
          <p:cNvSpPr/>
          <p:nvPr/>
        </p:nvSpPr>
        <p:spPr>
          <a:xfrm>
            <a:off x="8978849" y="1095163"/>
            <a:ext cx="144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2018</a:t>
            </a:r>
          </a:p>
        </p:txBody>
      </p:sp>
      <p:sp>
        <p:nvSpPr>
          <p:cNvPr id="81" name="Rechteck 80"/>
          <p:cNvSpPr/>
          <p:nvPr/>
        </p:nvSpPr>
        <p:spPr>
          <a:xfrm>
            <a:off x="10383452" y="1095515"/>
            <a:ext cx="144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</a:rPr>
              <a:t>2019</a:t>
            </a:r>
          </a:p>
        </p:txBody>
      </p:sp>
      <p:pic>
        <p:nvPicPr>
          <p:cNvPr id="47" name="Grafik 4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1837" y="3268966"/>
            <a:ext cx="4254999" cy="3208033"/>
          </a:xfrm>
          <a:prstGeom prst="rect">
            <a:avLst/>
          </a:prstGeom>
          <a:ln>
            <a:solidFill>
              <a:schemeClr val="tx1"/>
            </a:solidFill>
          </a:ln>
          <a:effectLst>
            <a:softEdge rad="139700"/>
          </a:effectLst>
        </p:spPr>
      </p:pic>
      <p:pic>
        <p:nvPicPr>
          <p:cNvPr id="48" name="Grafik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9431" y="1420345"/>
            <a:ext cx="4282579" cy="2624807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51" name="Grafik 5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8275" y="3711134"/>
            <a:ext cx="4627672" cy="2606822"/>
          </a:xfrm>
          <a:prstGeom prst="rect">
            <a:avLst/>
          </a:prstGeom>
          <a:effectLst>
            <a:softEdge rad="114300"/>
          </a:effectLst>
        </p:spPr>
      </p:pic>
      <p:pic>
        <p:nvPicPr>
          <p:cNvPr id="56" name="Grafik 5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338" y="1625638"/>
            <a:ext cx="3315732" cy="2906866"/>
          </a:xfrm>
          <a:prstGeom prst="rect">
            <a:avLst/>
          </a:prstGeom>
          <a:effectLst>
            <a:softEdge rad="88900"/>
          </a:effectLst>
        </p:spPr>
      </p:pic>
    </p:spTree>
    <p:extLst>
      <p:ext uri="{BB962C8B-B14F-4D97-AF65-F5344CB8AC3E}">
        <p14:creationId xmlns:p14="http://schemas.microsoft.com/office/powerpoint/2010/main" val="299236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lIns="0" tIns="0" rIns="0" bIns="0" anchor="b" anchorCtr="0"/>
          <a:lstStyle/>
          <a:p>
            <a:r>
              <a:rPr lang="de-DE" dirty="0"/>
              <a:t>Sicherheitspolitische Entwicklung in Europa 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Streitkräftebasis</a:t>
            </a:r>
          </a:p>
        </p:txBody>
      </p:sp>
      <p:grpSp>
        <p:nvGrpSpPr>
          <p:cNvPr id="11" name="Gruppieren 10"/>
          <p:cNvGrpSpPr/>
          <p:nvPr/>
        </p:nvGrpSpPr>
        <p:grpSpPr>
          <a:xfrm>
            <a:off x="5899735" y="3485113"/>
            <a:ext cx="4497644" cy="2883579"/>
            <a:chOff x="4860690" y="3613299"/>
            <a:chExt cx="4497644" cy="2883579"/>
          </a:xfrm>
        </p:grpSpPr>
        <p:grpSp>
          <p:nvGrpSpPr>
            <p:cNvPr id="12" name="Gruppieren 38"/>
            <p:cNvGrpSpPr>
              <a:grpSpLocks noChangeAspect="1"/>
            </p:cNvGrpSpPr>
            <p:nvPr/>
          </p:nvGrpSpPr>
          <p:grpSpPr bwMode="auto">
            <a:xfrm>
              <a:off x="4860690" y="3998153"/>
              <a:ext cx="4497644" cy="2498725"/>
              <a:chOff x="6937088" y="4563149"/>
              <a:chExt cx="3088873" cy="2097468"/>
            </a:xfrm>
          </p:grpSpPr>
          <p:pic>
            <p:nvPicPr>
              <p:cNvPr id="15" name="Grafik 39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37088" y="4563149"/>
                <a:ext cx="3088873" cy="20974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" name="Ellipse 40"/>
              <p:cNvSpPr>
                <a:spLocks noChangeArrowheads="1"/>
              </p:cNvSpPr>
              <p:nvPr/>
            </p:nvSpPr>
            <p:spPr bwMode="auto">
              <a:xfrm>
                <a:off x="7603721" y="4957507"/>
                <a:ext cx="1130074" cy="1271728"/>
              </a:xfrm>
              <a:prstGeom prst="ellipse">
                <a:avLst/>
              </a:prstGeom>
              <a:noFill/>
              <a:ln w="76200" algn="ctr">
                <a:solidFill>
                  <a:srgbClr val="FF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defRPr b="1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b="1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b="1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b="1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b="1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altLang="de-DE" sz="18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</a:endParaRPr>
              </a:p>
            </p:txBody>
          </p:sp>
        </p:grpSp>
        <p:sp>
          <p:nvSpPr>
            <p:cNvPr id="13" name="Pfeil nach rechts 41"/>
            <p:cNvSpPr>
              <a:spLocks noChangeArrowheads="1"/>
            </p:cNvSpPr>
            <p:nvPr/>
          </p:nvSpPr>
          <p:spPr bwMode="auto">
            <a:xfrm rot="20073837">
              <a:off x="7326957" y="4671366"/>
              <a:ext cx="273668" cy="297361"/>
            </a:xfrm>
            <a:prstGeom prst="rightArrow">
              <a:avLst>
                <a:gd name="adj1" fmla="val 50000"/>
                <a:gd name="adj2" fmla="val 50162"/>
              </a:avLst>
            </a:prstGeom>
            <a:solidFill>
              <a:srgbClr val="FF0000"/>
            </a:solidFill>
            <a:ln w="9525" algn="ctr">
              <a:noFill/>
              <a:round/>
              <a:headEnd/>
              <a:tailEnd/>
            </a:ln>
          </p:spPr>
          <p:txBody>
            <a:bodyPr lIns="91384" tIns="45691" rIns="91384" bIns="45691"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14" name="Textfeld 1"/>
            <p:cNvSpPr txBox="1">
              <a:spLocks noChangeArrowheads="1"/>
            </p:cNvSpPr>
            <p:nvPr/>
          </p:nvSpPr>
          <p:spPr bwMode="auto">
            <a:xfrm>
              <a:off x="4976802" y="3613299"/>
              <a:ext cx="4233862" cy="33849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84" tIns="45691" rIns="91384" bIns="45691"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de-DE" sz="16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</a:rPr>
                <a:t>Refokussierung</a:t>
              </a:r>
              <a:r>
                <a:rPr kumimoji="0" lang="de-DE" alt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</a:rPr>
                <a:t> auf Bündnisverteidigung</a:t>
              </a:r>
            </a:p>
          </p:txBody>
        </p:sp>
      </p:grpSp>
      <p:pic>
        <p:nvPicPr>
          <p:cNvPr id="18" name="Picture 19" descr="http://www.google.de/url?source=imgres&amp;ct=tbn&amp;q=https://assets.digital.cabinet-office.gov.uk/government/uploads/system/uploads/classification_featuring_image_data/file/936/s465_NATO_960.jpg&amp;sa=X&amp;ei=thZaVbf6EcH_ywPl2oCIBw&amp;ved=0CAUQ8wc&amp;usg=AFQjCNHlGhAtnximjuiZ6osDDFTfAp0yA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841679" y="908720"/>
            <a:ext cx="4233862" cy="216024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feil nach rechts 18"/>
          <p:cNvSpPr/>
          <p:nvPr/>
        </p:nvSpPr>
        <p:spPr>
          <a:xfrm>
            <a:off x="5178997" y="1412776"/>
            <a:ext cx="576064" cy="360040"/>
          </a:xfrm>
          <a:prstGeom prst="rightArrow">
            <a:avLst/>
          </a:prstGeom>
          <a:solidFill>
            <a:srgbClr val="D16349"/>
          </a:solidFill>
          <a:ln w="25400" cap="flat" cmpd="sng" algn="ctr">
            <a:solidFill>
              <a:srgbClr val="D16349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Pfeil nach rechts 19"/>
          <p:cNvSpPr/>
          <p:nvPr/>
        </p:nvSpPr>
        <p:spPr>
          <a:xfrm rot="5400000">
            <a:off x="7879297" y="3104964"/>
            <a:ext cx="288032" cy="360040"/>
          </a:xfrm>
          <a:prstGeom prst="rightArrow">
            <a:avLst/>
          </a:prstGeom>
          <a:solidFill>
            <a:srgbClr val="D16349"/>
          </a:solidFill>
          <a:ln w="25400" cap="flat" cmpd="sng" algn="ctr">
            <a:solidFill>
              <a:srgbClr val="D16349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Pfeil nach rechts 41"/>
          <p:cNvSpPr>
            <a:spLocks noChangeArrowheads="1"/>
          </p:cNvSpPr>
          <p:nvPr/>
        </p:nvSpPr>
        <p:spPr bwMode="auto">
          <a:xfrm rot="1867252">
            <a:off x="8368023" y="5456519"/>
            <a:ext cx="442595" cy="297361"/>
          </a:xfrm>
          <a:prstGeom prst="rightArrow">
            <a:avLst>
              <a:gd name="adj1" fmla="val 50000"/>
              <a:gd name="adj2" fmla="val 50162"/>
            </a:avLst>
          </a:prstGeom>
          <a:solidFill>
            <a:srgbClr val="FF0000"/>
          </a:solidFill>
          <a:ln w="9525" algn="ctr">
            <a:noFill/>
            <a:round/>
            <a:headEnd/>
            <a:tailEnd/>
          </a:ln>
        </p:spPr>
        <p:txBody>
          <a:bodyPr lIns="91384" tIns="45691" rIns="91384" bIns="45691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2" name="Pfeil nach rechts 41"/>
          <p:cNvSpPr>
            <a:spLocks noChangeArrowheads="1"/>
          </p:cNvSpPr>
          <p:nvPr/>
        </p:nvSpPr>
        <p:spPr bwMode="auto">
          <a:xfrm rot="8725352">
            <a:off x="6646096" y="5506233"/>
            <a:ext cx="448621" cy="297361"/>
          </a:xfrm>
          <a:prstGeom prst="rightArrow">
            <a:avLst>
              <a:gd name="adj1" fmla="val 50000"/>
              <a:gd name="adj2" fmla="val 50162"/>
            </a:avLst>
          </a:prstGeom>
          <a:solidFill>
            <a:srgbClr val="FF0000"/>
          </a:solidFill>
          <a:ln w="9525" algn="ctr">
            <a:noFill/>
            <a:round/>
            <a:headEnd/>
            <a:tailEnd/>
          </a:ln>
        </p:spPr>
        <p:txBody>
          <a:bodyPr lIns="91384" tIns="45691" rIns="91384" bIns="45691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6977276" y="4041409"/>
            <a:ext cx="7135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360</a:t>
            </a:r>
            <a:r>
              <a:rPr kumimoji="0" lang="de-DE" sz="20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76200" y="5178655"/>
            <a:ext cx="5029324" cy="1314449"/>
            <a:chOff x="76200" y="5178655"/>
            <a:chExt cx="5029324" cy="1314449"/>
          </a:xfrm>
        </p:grpSpPr>
        <p:pic>
          <p:nvPicPr>
            <p:cNvPr id="24" name="Picture 3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33" r="-1"/>
            <a:stretch/>
          </p:blipFill>
          <p:spPr bwMode="auto">
            <a:xfrm>
              <a:off x="1828799" y="5178655"/>
              <a:ext cx="3276725" cy="13144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" name="Grafik 3"/>
            <p:cNvPicPr>
              <a:picLocks noChangeAspect="1"/>
            </p:cNvPicPr>
            <p:nvPr/>
          </p:nvPicPr>
          <p:blipFill rotWithShape="1">
            <a:blip r:embed="rId5"/>
            <a:srcRect l="-31" t="7939" r="1"/>
            <a:stretch/>
          </p:blipFill>
          <p:spPr>
            <a:xfrm>
              <a:off x="1831181" y="5231606"/>
              <a:ext cx="1674227" cy="1027222"/>
            </a:xfrm>
            <a:prstGeom prst="rect">
              <a:avLst/>
            </a:prstGeom>
          </p:spPr>
        </p:pic>
        <p:sp>
          <p:nvSpPr>
            <p:cNvPr id="6" name="Rechteck 5"/>
            <p:cNvSpPr/>
            <p:nvPr/>
          </p:nvSpPr>
          <p:spPr>
            <a:xfrm>
              <a:off x="76200" y="5231606"/>
              <a:ext cx="1651138" cy="1261498"/>
            </a:xfrm>
            <a:prstGeom prst="rect">
              <a:avLst/>
            </a:prstGeom>
            <a:solidFill>
              <a:srgbClr val="7F7F7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Pandemien  Katastrophen Staats-versagen</a:t>
              </a: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76200" y="3797400"/>
            <a:ext cx="5029325" cy="1276350"/>
            <a:chOff x="76200" y="3797400"/>
            <a:chExt cx="5029325" cy="1276350"/>
          </a:xfrm>
        </p:grpSpPr>
        <p:pic>
          <p:nvPicPr>
            <p:cNvPr id="25" name="Picture 3"/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794621" y="3797400"/>
              <a:ext cx="3310904" cy="1276350"/>
            </a:xfrm>
            <a:prstGeom prst="rect">
              <a:avLst/>
            </a:prstGeom>
            <a:solidFill>
              <a:srgbClr val="7F7F7F"/>
            </a:solidFill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Rechteck 26"/>
            <p:cNvSpPr/>
            <p:nvPr/>
          </p:nvSpPr>
          <p:spPr>
            <a:xfrm>
              <a:off x="76200" y="3804826"/>
              <a:ext cx="1651138" cy="1261498"/>
            </a:xfrm>
            <a:prstGeom prst="rect">
              <a:avLst/>
            </a:prstGeom>
            <a:solidFill>
              <a:srgbClr val="7F7F7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Staats-versagen / Terror</a:t>
              </a: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76200" y="2367369"/>
            <a:ext cx="5039958" cy="1400049"/>
            <a:chOff x="76200" y="2367369"/>
            <a:chExt cx="5039958" cy="1400049"/>
          </a:xfrm>
        </p:grpSpPr>
        <p:pic>
          <p:nvPicPr>
            <p:cNvPr id="26" name="Picture 3"/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805254" y="2367369"/>
              <a:ext cx="3310904" cy="14000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Rechteck 27"/>
            <p:cNvSpPr/>
            <p:nvPr/>
          </p:nvSpPr>
          <p:spPr>
            <a:xfrm>
              <a:off x="76200" y="2418432"/>
              <a:ext cx="1651138" cy="1261498"/>
            </a:xfrm>
            <a:prstGeom prst="rect">
              <a:avLst/>
            </a:prstGeom>
            <a:solidFill>
              <a:srgbClr val="7F7F7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Humanitäre Notlagen</a:t>
              </a:r>
            </a:p>
          </p:txBody>
        </p:sp>
      </p:grpSp>
      <p:grpSp>
        <p:nvGrpSpPr>
          <p:cNvPr id="10" name="Gruppieren 9"/>
          <p:cNvGrpSpPr/>
          <p:nvPr/>
        </p:nvGrpSpPr>
        <p:grpSpPr>
          <a:xfrm>
            <a:off x="76200" y="907057"/>
            <a:ext cx="5029325" cy="1377280"/>
            <a:chOff x="76200" y="907057"/>
            <a:chExt cx="5029325" cy="1377280"/>
          </a:xfrm>
        </p:grpSpPr>
        <p:pic>
          <p:nvPicPr>
            <p:cNvPr id="17" name="Picture 3"/>
            <p:cNvPicPr>
              <a:picLocks noChangeAspect="1" noChangeArrowheads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794621" y="907057"/>
              <a:ext cx="3310904" cy="13772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Rechteck 28"/>
            <p:cNvSpPr/>
            <p:nvPr/>
          </p:nvSpPr>
          <p:spPr>
            <a:xfrm>
              <a:off x="76200" y="917068"/>
              <a:ext cx="1651138" cy="1336082"/>
            </a:xfrm>
            <a:prstGeom prst="rect">
              <a:avLst/>
            </a:prstGeom>
            <a:solidFill>
              <a:srgbClr val="7F7F7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Militärische Risik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957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2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Deutsche Sicherheitsperspektiven im multinationalen </a:t>
            </a:r>
            <a:r>
              <a:rPr lang="de-DE" dirty="0" err="1"/>
              <a:t>geflecht</a:t>
            </a:r>
            <a:endParaRPr lang="de-DE" dirty="0"/>
          </a:p>
        </p:txBody>
      </p:sp>
      <p:sp>
        <p:nvSpPr>
          <p:cNvPr id="22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Streitkräftebasis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16207" y="792172"/>
            <a:ext cx="12856743" cy="5825828"/>
          </a:xfrm>
          <a:prstGeom prst="rect">
            <a:avLst/>
          </a:prstGeom>
        </p:spPr>
      </p:pic>
      <p:sp>
        <p:nvSpPr>
          <p:cNvPr id="8" name="Ellipse 7"/>
          <p:cNvSpPr/>
          <p:nvPr/>
        </p:nvSpPr>
        <p:spPr>
          <a:xfrm rot="5693600">
            <a:off x="1063338" y="2463463"/>
            <a:ext cx="6230533" cy="4336927"/>
          </a:xfrm>
          <a:prstGeom prst="ellipse">
            <a:avLst/>
          </a:prstGeom>
          <a:solidFill>
            <a:srgbClr val="FFFF00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9345" y="4494167"/>
            <a:ext cx="1165928" cy="776982"/>
          </a:xfrm>
          <a:prstGeom prst="rect">
            <a:avLst/>
          </a:prstGeom>
        </p:spPr>
      </p:pic>
      <p:sp>
        <p:nvSpPr>
          <p:cNvPr id="29" name="Ellipse 28"/>
          <p:cNvSpPr/>
          <p:nvPr/>
        </p:nvSpPr>
        <p:spPr>
          <a:xfrm rot="1339961">
            <a:off x="3292426" y="1877277"/>
            <a:ext cx="6654501" cy="2493877"/>
          </a:xfrm>
          <a:prstGeom prst="ellipse">
            <a:avLst/>
          </a:prstGeom>
          <a:solidFill>
            <a:srgbClr val="00B05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/>
          <p:cNvSpPr/>
          <p:nvPr/>
        </p:nvSpPr>
        <p:spPr>
          <a:xfrm>
            <a:off x="0" y="6618000"/>
            <a:ext cx="12192000" cy="240000"/>
          </a:xfrm>
          <a:prstGeom prst="rect">
            <a:avLst/>
          </a:prstGeom>
          <a:solidFill>
            <a:srgbClr val="DB7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Freihandform 11"/>
          <p:cNvSpPr/>
          <p:nvPr/>
        </p:nvSpPr>
        <p:spPr>
          <a:xfrm>
            <a:off x="2150614" y="776458"/>
            <a:ext cx="4694252" cy="3147841"/>
          </a:xfrm>
          <a:custGeom>
            <a:avLst/>
            <a:gdLst>
              <a:gd name="connsiteX0" fmla="*/ 738636 w 4694252"/>
              <a:gd name="connsiteY0" fmla="*/ 7766 h 3077916"/>
              <a:gd name="connsiteX1" fmla="*/ 1011686 w 4694252"/>
              <a:gd name="connsiteY1" fmla="*/ 7766 h 3077916"/>
              <a:gd name="connsiteX2" fmla="*/ 1322836 w 4694252"/>
              <a:gd name="connsiteY2" fmla="*/ 7766 h 3077916"/>
              <a:gd name="connsiteX3" fmla="*/ 1653036 w 4694252"/>
              <a:gd name="connsiteY3" fmla="*/ 7766 h 3077916"/>
              <a:gd name="connsiteX4" fmla="*/ 1811786 w 4694252"/>
              <a:gd name="connsiteY4" fmla="*/ 77616 h 3077916"/>
              <a:gd name="connsiteX5" fmla="*/ 1837186 w 4694252"/>
              <a:gd name="connsiteY5" fmla="*/ 255416 h 3077916"/>
              <a:gd name="connsiteX6" fmla="*/ 1887986 w 4694252"/>
              <a:gd name="connsiteY6" fmla="*/ 445916 h 3077916"/>
              <a:gd name="connsiteX7" fmla="*/ 1976886 w 4694252"/>
              <a:gd name="connsiteY7" fmla="*/ 585616 h 3077916"/>
              <a:gd name="connsiteX8" fmla="*/ 2243586 w 4694252"/>
              <a:gd name="connsiteY8" fmla="*/ 630066 h 3077916"/>
              <a:gd name="connsiteX9" fmla="*/ 2497586 w 4694252"/>
              <a:gd name="connsiteY9" fmla="*/ 439566 h 3077916"/>
              <a:gd name="connsiteX10" fmla="*/ 2732536 w 4694252"/>
              <a:gd name="connsiteY10" fmla="*/ 115716 h 3077916"/>
              <a:gd name="connsiteX11" fmla="*/ 2840486 w 4694252"/>
              <a:gd name="connsiteY11" fmla="*/ 7766 h 3077916"/>
              <a:gd name="connsiteX12" fmla="*/ 2999236 w 4694252"/>
              <a:gd name="connsiteY12" fmla="*/ 7766 h 3077916"/>
              <a:gd name="connsiteX13" fmla="*/ 3107186 w 4694252"/>
              <a:gd name="connsiteY13" fmla="*/ 1416 h 3077916"/>
              <a:gd name="connsiteX14" fmla="*/ 3189736 w 4694252"/>
              <a:gd name="connsiteY14" fmla="*/ 7766 h 3077916"/>
              <a:gd name="connsiteX15" fmla="*/ 3246886 w 4694252"/>
              <a:gd name="connsiteY15" fmla="*/ 64916 h 3077916"/>
              <a:gd name="connsiteX16" fmla="*/ 3259586 w 4694252"/>
              <a:gd name="connsiteY16" fmla="*/ 306216 h 3077916"/>
              <a:gd name="connsiteX17" fmla="*/ 3253236 w 4694252"/>
              <a:gd name="connsiteY17" fmla="*/ 464966 h 3077916"/>
              <a:gd name="connsiteX18" fmla="*/ 3126236 w 4694252"/>
              <a:gd name="connsiteY18" fmla="*/ 674516 h 3077916"/>
              <a:gd name="connsiteX19" fmla="*/ 2954786 w 4694252"/>
              <a:gd name="connsiteY19" fmla="*/ 820566 h 3077916"/>
              <a:gd name="connsiteX20" fmla="*/ 2903986 w 4694252"/>
              <a:gd name="connsiteY20" fmla="*/ 1036466 h 3077916"/>
              <a:gd name="connsiteX21" fmla="*/ 2891286 w 4694252"/>
              <a:gd name="connsiteY21" fmla="*/ 1315866 h 3077916"/>
              <a:gd name="connsiteX22" fmla="*/ 2910336 w 4694252"/>
              <a:gd name="connsiteY22" fmla="*/ 1576216 h 3077916"/>
              <a:gd name="connsiteX23" fmla="*/ 3227836 w 4694252"/>
              <a:gd name="connsiteY23" fmla="*/ 1652416 h 3077916"/>
              <a:gd name="connsiteX24" fmla="*/ 3373886 w 4694252"/>
              <a:gd name="connsiteY24" fmla="*/ 1855616 h 3077916"/>
              <a:gd name="connsiteX25" fmla="*/ 3361186 w 4694252"/>
              <a:gd name="connsiteY25" fmla="*/ 2160416 h 3077916"/>
              <a:gd name="connsiteX26" fmla="*/ 3494536 w 4694252"/>
              <a:gd name="connsiteY26" fmla="*/ 2363616 h 3077916"/>
              <a:gd name="connsiteX27" fmla="*/ 3919986 w 4694252"/>
              <a:gd name="connsiteY27" fmla="*/ 2338216 h 3077916"/>
              <a:gd name="connsiteX28" fmla="*/ 4345436 w 4694252"/>
              <a:gd name="connsiteY28" fmla="*/ 2363616 h 3077916"/>
              <a:gd name="connsiteX29" fmla="*/ 4599436 w 4694252"/>
              <a:gd name="connsiteY29" fmla="*/ 2477916 h 3077916"/>
              <a:gd name="connsiteX30" fmla="*/ 4675636 w 4694252"/>
              <a:gd name="connsiteY30" fmla="*/ 2776366 h 3077916"/>
              <a:gd name="connsiteX31" fmla="*/ 4275586 w 4694252"/>
              <a:gd name="connsiteY31" fmla="*/ 2960516 h 3077916"/>
              <a:gd name="connsiteX32" fmla="*/ 3602486 w 4694252"/>
              <a:gd name="connsiteY32" fmla="*/ 3017666 h 3077916"/>
              <a:gd name="connsiteX33" fmla="*/ 2865886 w 4694252"/>
              <a:gd name="connsiteY33" fmla="*/ 3068466 h 3077916"/>
              <a:gd name="connsiteX34" fmla="*/ 1754636 w 4694252"/>
              <a:gd name="connsiteY34" fmla="*/ 2814466 h 3077916"/>
              <a:gd name="connsiteX35" fmla="*/ 1354586 w 4694252"/>
              <a:gd name="connsiteY35" fmla="*/ 2750966 h 3077916"/>
              <a:gd name="connsiteX36" fmla="*/ 764036 w 4694252"/>
              <a:gd name="connsiteY36" fmla="*/ 2954166 h 3077916"/>
              <a:gd name="connsiteX37" fmla="*/ 268736 w 4694252"/>
              <a:gd name="connsiteY37" fmla="*/ 2966866 h 3077916"/>
              <a:gd name="connsiteX38" fmla="*/ 8386 w 4694252"/>
              <a:gd name="connsiteY38" fmla="*/ 2623966 h 3077916"/>
              <a:gd name="connsiteX39" fmla="*/ 90936 w 4694252"/>
              <a:gd name="connsiteY39" fmla="*/ 2020716 h 3077916"/>
              <a:gd name="connsiteX40" fmla="*/ 357636 w 4694252"/>
              <a:gd name="connsiteY40" fmla="*/ 1334916 h 3077916"/>
              <a:gd name="connsiteX41" fmla="*/ 363986 w 4694252"/>
              <a:gd name="connsiteY41" fmla="*/ 972966 h 3077916"/>
              <a:gd name="connsiteX42" fmla="*/ 103636 w 4694252"/>
              <a:gd name="connsiteY42" fmla="*/ 553866 h 3077916"/>
              <a:gd name="connsiteX43" fmla="*/ 281436 w 4694252"/>
              <a:gd name="connsiteY43" fmla="*/ 153816 h 3077916"/>
              <a:gd name="connsiteX44" fmla="*/ 497336 w 4694252"/>
              <a:gd name="connsiteY44" fmla="*/ 20466 h 3077916"/>
              <a:gd name="connsiteX45" fmla="*/ 738636 w 4694252"/>
              <a:gd name="connsiteY45" fmla="*/ 7766 h 3077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4694252" h="3077916">
                <a:moveTo>
                  <a:pt x="738636" y="7766"/>
                </a:moveTo>
                <a:lnTo>
                  <a:pt x="1011686" y="7766"/>
                </a:lnTo>
                <a:lnTo>
                  <a:pt x="1322836" y="7766"/>
                </a:lnTo>
                <a:cubicBezTo>
                  <a:pt x="1429728" y="7766"/>
                  <a:pt x="1571544" y="-3876"/>
                  <a:pt x="1653036" y="7766"/>
                </a:cubicBezTo>
                <a:cubicBezTo>
                  <a:pt x="1734528" y="19408"/>
                  <a:pt x="1781094" y="36341"/>
                  <a:pt x="1811786" y="77616"/>
                </a:cubicBezTo>
                <a:cubicBezTo>
                  <a:pt x="1842478" y="118891"/>
                  <a:pt x="1824486" y="194033"/>
                  <a:pt x="1837186" y="255416"/>
                </a:cubicBezTo>
                <a:cubicBezTo>
                  <a:pt x="1849886" y="316799"/>
                  <a:pt x="1864703" y="390883"/>
                  <a:pt x="1887986" y="445916"/>
                </a:cubicBezTo>
                <a:cubicBezTo>
                  <a:pt x="1911269" y="500949"/>
                  <a:pt x="1917619" y="554924"/>
                  <a:pt x="1976886" y="585616"/>
                </a:cubicBezTo>
                <a:cubicBezTo>
                  <a:pt x="2036153" y="616308"/>
                  <a:pt x="2156803" y="654408"/>
                  <a:pt x="2243586" y="630066"/>
                </a:cubicBezTo>
                <a:cubicBezTo>
                  <a:pt x="2330369" y="605724"/>
                  <a:pt x="2416094" y="525291"/>
                  <a:pt x="2497586" y="439566"/>
                </a:cubicBezTo>
                <a:cubicBezTo>
                  <a:pt x="2579078" y="353841"/>
                  <a:pt x="2675386" y="187683"/>
                  <a:pt x="2732536" y="115716"/>
                </a:cubicBezTo>
                <a:cubicBezTo>
                  <a:pt x="2789686" y="43749"/>
                  <a:pt x="2796036" y="25758"/>
                  <a:pt x="2840486" y="7766"/>
                </a:cubicBezTo>
                <a:cubicBezTo>
                  <a:pt x="2884936" y="-10226"/>
                  <a:pt x="2954786" y="8824"/>
                  <a:pt x="2999236" y="7766"/>
                </a:cubicBezTo>
                <a:cubicBezTo>
                  <a:pt x="3043686" y="6708"/>
                  <a:pt x="3075436" y="1416"/>
                  <a:pt x="3107186" y="1416"/>
                </a:cubicBezTo>
                <a:cubicBezTo>
                  <a:pt x="3138936" y="1416"/>
                  <a:pt x="3166453" y="-2817"/>
                  <a:pt x="3189736" y="7766"/>
                </a:cubicBezTo>
                <a:cubicBezTo>
                  <a:pt x="3213019" y="18349"/>
                  <a:pt x="3235244" y="15174"/>
                  <a:pt x="3246886" y="64916"/>
                </a:cubicBezTo>
                <a:cubicBezTo>
                  <a:pt x="3258528" y="114658"/>
                  <a:pt x="3258528" y="239541"/>
                  <a:pt x="3259586" y="306216"/>
                </a:cubicBezTo>
                <a:cubicBezTo>
                  <a:pt x="3260644" y="372891"/>
                  <a:pt x="3275461" y="403583"/>
                  <a:pt x="3253236" y="464966"/>
                </a:cubicBezTo>
                <a:cubicBezTo>
                  <a:pt x="3231011" y="526349"/>
                  <a:pt x="3175978" y="615249"/>
                  <a:pt x="3126236" y="674516"/>
                </a:cubicBezTo>
                <a:cubicBezTo>
                  <a:pt x="3076494" y="733783"/>
                  <a:pt x="2991828" y="760241"/>
                  <a:pt x="2954786" y="820566"/>
                </a:cubicBezTo>
                <a:cubicBezTo>
                  <a:pt x="2917744" y="880891"/>
                  <a:pt x="2914569" y="953916"/>
                  <a:pt x="2903986" y="1036466"/>
                </a:cubicBezTo>
                <a:cubicBezTo>
                  <a:pt x="2893403" y="1119016"/>
                  <a:pt x="2890228" y="1225908"/>
                  <a:pt x="2891286" y="1315866"/>
                </a:cubicBezTo>
                <a:cubicBezTo>
                  <a:pt x="2892344" y="1405824"/>
                  <a:pt x="2854244" y="1520124"/>
                  <a:pt x="2910336" y="1576216"/>
                </a:cubicBezTo>
                <a:cubicBezTo>
                  <a:pt x="2966428" y="1632308"/>
                  <a:pt x="3150578" y="1605849"/>
                  <a:pt x="3227836" y="1652416"/>
                </a:cubicBezTo>
                <a:cubicBezTo>
                  <a:pt x="3305094" y="1698983"/>
                  <a:pt x="3351661" y="1770949"/>
                  <a:pt x="3373886" y="1855616"/>
                </a:cubicBezTo>
                <a:cubicBezTo>
                  <a:pt x="3396111" y="1940283"/>
                  <a:pt x="3341078" y="2075749"/>
                  <a:pt x="3361186" y="2160416"/>
                </a:cubicBezTo>
                <a:cubicBezTo>
                  <a:pt x="3381294" y="2245083"/>
                  <a:pt x="3401403" y="2333983"/>
                  <a:pt x="3494536" y="2363616"/>
                </a:cubicBezTo>
                <a:cubicBezTo>
                  <a:pt x="3587669" y="2393249"/>
                  <a:pt x="3778169" y="2338216"/>
                  <a:pt x="3919986" y="2338216"/>
                </a:cubicBezTo>
                <a:cubicBezTo>
                  <a:pt x="4061803" y="2338216"/>
                  <a:pt x="4232194" y="2340333"/>
                  <a:pt x="4345436" y="2363616"/>
                </a:cubicBezTo>
                <a:cubicBezTo>
                  <a:pt x="4458678" y="2386899"/>
                  <a:pt x="4544403" y="2409124"/>
                  <a:pt x="4599436" y="2477916"/>
                </a:cubicBezTo>
                <a:cubicBezTo>
                  <a:pt x="4654469" y="2546708"/>
                  <a:pt x="4729611" y="2695933"/>
                  <a:pt x="4675636" y="2776366"/>
                </a:cubicBezTo>
                <a:cubicBezTo>
                  <a:pt x="4621661" y="2856799"/>
                  <a:pt x="4454444" y="2920299"/>
                  <a:pt x="4275586" y="2960516"/>
                </a:cubicBezTo>
                <a:cubicBezTo>
                  <a:pt x="4096728" y="3000733"/>
                  <a:pt x="3602486" y="3017666"/>
                  <a:pt x="3602486" y="3017666"/>
                </a:cubicBezTo>
                <a:cubicBezTo>
                  <a:pt x="3367536" y="3035658"/>
                  <a:pt x="3173861" y="3102333"/>
                  <a:pt x="2865886" y="3068466"/>
                </a:cubicBezTo>
                <a:cubicBezTo>
                  <a:pt x="2557911" y="3034599"/>
                  <a:pt x="2006519" y="2867383"/>
                  <a:pt x="1754636" y="2814466"/>
                </a:cubicBezTo>
                <a:cubicBezTo>
                  <a:pt x="1502753" y="2761549"/>
                  <a:pt x="1519686" y="2727683"/>
                  <a:pt x="1354586" y="2750966"/>
                </a:cubicBezTo>
                <a:cubicBezTo>
                  <a:pt x="1189486" y="2774249"/>
                  <a:pt x="945011" y="2918183"/>
                  <a:pt x="764036" y="2954166"/>
                </a:cubicBezTo>
                <a:cubicBezTo>
                  <a:pt x="583061" y="2990149"/>
                  <a:pt x="394678" y="3021899"/>
                  <a:pt x="268736" y="2966866"/>
                </a:cubicBezTo>
                <a:cubicBezTo>
                  <a:pt x="142794" y="2911833"/>
                  <a:pt x="38019" y="2781658"/>
                  <a:pt x="8386" y="2623966"/>
                </a:cubicBezTo>
                <a:cubicBezTo>
                  <a:pt x="-21247" y="2466274"/>
                  <a:pt x="32728" y="2235558"/>
                  <a:pt x="90936" y="2020716"/>
                </a:cubicBezTo>
                <a:cubicBezTo>
                  <a:pt x="149144" y="1805874"/>
                  <a:pt x="312128" y="1509541"/>
                  <a:pt x="357636" y="1334916"/>
                </a:cubicBezTo>
                <a:cubicBezTo>
                  <a:pt x="403144" y="1160291"/>
                  <a:pt x="406319" y="1103141"/>
                  <a:pt x="363986" y="972966"/>
                </a:cubicBezTo>
                <a:cubicBezTo>
                  <a:pt x="321653" y="842791"/>
                  <a:pt x="117394" y="690391"/>
                  <a:pt x="103636" y="553866"/>
                </a:cubicBezTo>
                <a:cubicBezTo>
                  <a:pt x="89878" y="417341"/>
                  <a:pt x="215819" y="242716"/>
                  <a:pt x="281436" y="153816"/>
                </a:cubicBezTo>
                <a:cubicBezTo>
                  <a:pt x="347053" y="64916"/>
                  <a:pt x="423253" y="44808"/>
                  <a:pt x="497336" y="20466"/>
                </a:cubicBezTo>
                <a:cubicBezTo>
                  <a:pt x="571419" y="-3876"/>
                  <a:pt x="648677" y="1945"/>
                  <a:pt x="738636" y="7766"/>
                </a:cubicBezTo>
                <a:close/>
              </a:path>
            </a:pathLst>
          </a:custGeom>
          <a:solidFill>
            <a:srgbClr val="FF00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521" y="1457325"/>
            <a:ext cx="871404" cy="1090612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7941992" y="2241577"/>
            <a:ext cx="1599019" cy="1100160"/>
          </a:xfrm>
          <a:prstGeom prst="rect">
            <a:avLst/>
          </a:prstGeom>
          <a:solidFill>
            <a:schemeClr val="bg1">
              <a:alpha val="7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weitere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Multinationale Koalitionen</a:t>
            </a: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6631" y="881775"/>
            <a:ext cx="982202" cy="736652"/>
          </a:xfrm>
          <a:prstGeom prst="rect">
            <a:avLst/>
          </a:prstGeom>
        </p:spPr>
      </p:pic>
      <p:sp>
        <p:nvSpPr>
          <p:cNvPr id="17" name="Datumsplatzhalter 2"/>
          <p:cNvSpPr txBox="1">
            <a:spLocks/>
          </p:cNvSpPr>
          <p:nvPr/>
        </p:nvSpPr>
        <p:spPr>
          <a:xfrm>
            <a:off x="287338" y="6618000"/>
            <a:ext cx="1440000" cy="24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6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Streitkräftebasi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7670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CzNDjc9kiTCHGpI4Ko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CzNDjc9kiTCHGpI4Korg"/>
</p:tagLst>
</file>

<file path=ppt/theme/theme1.xml><?xml version="1.0" encoding="utf-8"?>
<a:theme xmlns:a="http://schemas.openxmlformats.org/drawingml/2006/main" name="Startseite">
  <a:themeElements>
    <a:clrScheme name="CDBw_SKB">
      <a:dk1>
        <a:srgbClr val="000000"/>
      </a:dk1>
      <a:lt1>
        <a:srgbClr val="FFFFFF"/>
      </a:lt1>
      <a:dk2>
        <a:srgbClr val="DB7700"/>
      </a:dk2>
      <a:lt2>
        <a:srgbClr val="004471"/>
      </a:lt2>
      <a:accent1>
        <a:srgbClr val="C6D6DE"/>
      </a:accent1>
      <a:accent2>
        <a:srgbClr val="A6B8C3"/>
      </a:accent2>
      <a:accent3>
        <a:srgbClr val="647B8A"/>
      </a:accent3>
      <a:accent4>
        <a:srgbClr val="E6110C"/>
      </a:accent4>
      <a:accent5>
        <a:srgbClr val="F29100"/>
      </a:accent5>
      <a:accent6>
        <a:srgbClr val="F9B60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rtseite KdoSKB INTERN">
  <a:themeElements>
    <a:clrScheme name="CDBw_SKB">
      <a:dk1>
        <a:srgbClr val="000000"/>
      </a:dk1>
      <a:lt1>
        <a:srgbClr val="FFFFFF"/>
      </a:lt1>
      <a:dk2>
        <a:srgbClr val="DB7700"/>
      </a:dk2>
      <a:lt2>
        <a:srgbClr val="004471"/>
      </a:lt2>
      <a:accent1>
        <a:srgbClr val="C6D6DE"/>
      </a:accent1>
      <a:accent2>
        <a:srgbClr val="A6B8C3"/>
      </a:accent2>
      <a:accent3>
        <a:srgbClr val="647B8A"/>
      </a:accent3>
      <a:accent4>
        <a:srgbClr val="E6110C"/>
      </a:accent4>
      <a:accent5>
        <a:srgbClr val="F29100"/>
      </a:accent5>
      <a:accent6>
        <a:srgbClr val="F9B60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Inhaltsfolie">
  <a:themeElements>
    <a:clrScheme name="CDBw_SKB">
      <a:dk1>
        <a:srgbClr val="000000"/>
      </a:dk1>
      <a:lt1>
        <a:srgbClr val="FFFFFF"/>
      </a:lt1>
      <a:dk2>
        <a:srgbClr val="DB7700"/>
      </a:dk2>
      <a:lt2>
        <a:srgbClr val="004471"/>
      </a:lt2>
      <a:accent1>
        <a:srgbClr val="C6D6DE"/>
      </a:accent1>
      <a:accent2>
        <a:srgbClr val="A6B8C3"/>
      </a:accent2>
      <a:accent3>
        <a:srgbClr val="647B8A"/>
      </a:accent3>
      <a:accent4>
        <a:srgbClr val="E6110C"/>
      </a:accent4>
      <a:accent5>
        <a:srgbClr val="F29100"/>
      </a:accent5>
      <a:accent6>
        <a:srgbClr val="F9B600"/>
      </a:accent6>
      <a:hlink>
        <a:srgbClr val="0563C1"/>
      </a:hlink>
      <a:folHlink>
        <a:srgbClr val="954F72"/>
      </a:folHlink>
    </a:clrScheme>
    <a:fontScheme name="CDBw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Inhaltsfolien KdoSKB INTERN">
  <a:themeElements>
    <a:clrScheme name="CDBw_SKB">
      <a:dk1>
        <a:srgbClr val="000000"/>
      </a:dk1>
      <a:lt1>
        <a:srgbClr val="FFFFFF"/>
      </a:lt1>
      <a:dk2>
        <a:srgbClr val="DB7700"/>
      </a:dk2>
      <a:lt2>
        <a:srgbClr val="004471"/>
      </a:lt2>
      <a:accent1>
        <a:srgbClr val="C6D6DE"/>
      </a:accent1>
      <a:accent2>
        <a:srgbClr val="A6B8C3"/>
      </a:accent2>
      <a:accent3>
        <a:srgbClr val="647B8A"/>
      </a:accent3>
      <a:accent4>
        <a:srgbClr val="E6110C"/>
      </a:accent4>
      <a:accent5>
        <a:srgbClr val="F29100"/>
      </a:accent5>
      <a:accent6>
        <a:srgbClr val="F9B600"/>
      </a:accent6>
      <a:hlink>
        <a:srgbClr val="0563C1"/>
      </a:hlink>
      <a:folHlink>
        <a:srgbClr val="954F72"/>
      </a:folHlink>
    </a:clrScheme>
    <a:fontScheme name="CDBw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67</Words>
  <Application>Microsoft Office PowerPoint</Application>
  <PresentationFormat>Breitbild</PresentationFormat>
  <Paragraphs>421</Paragraphs>
  <Slides>24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4</vt:i4>
      </vt:variant>
      <vt:variant>
        <vt:lpstr>Folientitel</vt:lpstr>
      </vt:variant>
      <vt:variant>
        <vt:i4>24</vt:i4>
      </vt:variant>
    </vt:vector>
  </HeadingPairs>
  <TitlesOfParts>
    <vt:vector size="38" baseType="lpstr">
      <vt:lpstr> Arial</vt:lpstr>
      <vt:lpstr>Arial</vt:lpstr>
      <vt:lpstr>Arial Narrow</vt:lpstr>
      <vt:lpstr>Arial Narrow Bold</vt:lpstr>
      <vt:lpstr>Arial Regular</vt:lpstr>
      <vt:lpstr>BundesSans Bold</vt:lpstr>
      <vt:lpstr>BundesSans Medium</vt:lpstr>
      <vt:lpstr>Calibri</vt:lpstr>
      <vt:lpstr>Calibri Light</vt:lpstr>
      <vt:lpstr>Wingdings</vt:lpstr>
      <vt:lpstr>Startseite</vt:lpstr>
      <vt:lpstr>Startseite KdoSKB INTERN</vt:lpstr>
      <vt:lpstr>Inhaltsfolie</vt:lpstr>
      <vt:lpstr>Inhaltsfolien KdoSKB INTERN</vt:lpstr>
      <vt:lpstr>„Die Streitkräftebasis 2020“   Gesellschaft für Sicherheitspolitik e.V. </vt:lpstr>
      <vt:lpstr>Die Bundeswehr – Einordnung der Streitkräftebasis</vt:lpstr>
      <vt:lpstr>Auftrag Streitkräftebasis</vt:lpstr>
      <vt:lpstr>Die Streitkräftebasis - Gliederung</vt:lpstr>
      <vt:lpstr>Gefährdungen und risiken aus Süden / südosten</vt:lpstr>
      <vt:lpstr>Einsätze und anerkannte Missionen der Bundeswehr</vt:lpstr>
      <vt:lpstr>Aggressivere Aufstellung Russlands</vt:lpstr>
      <vt:lpstr>Sicherheitspolitische Entwicklung in Europa </vt:lpstr>
      <vt:lpstr> Deutsche Sicherheitsperspektiven im multinationalen geflecht</vt:lpstr>
      <vt:lpstr>Konzeptionelle  Grundlagen</vt:lpstr>
      <vt:lpstr>Fähigkeitsprofil der Bundeswehr Nationale Ambition</vt:lpstr>
      <vt:lpstr>Meilensteine Streitkräftebasis</vt:lpstr>
      <vt:lpstr>Balance Wirkung / Unterstützung</vt:lpstr>
      <vt:lpstr>Der militärisch anspruchsvollste fall</vt:lpstr>
      <vt:lpstr>Führung von Einsätzen der Bundeswehr in Deutschland</vt:lpstr>
      <vt:lpstr>Gesprächsrunde der Behördenleiter zur Sicherheit in Deutschland</vt:lpstr>
      <vt:lpstr>Kooperation mit der Bundespolizei</vt:lpstr>
      <vt:lpstr>Transit Alliierter – Defender Europe 20</vt:lpstr>
      <vt:lpstr>Transit Alliierter – Defender Europe 20</vt:lpstr>
      <vt:lpstr>DEFEnder Europe 20 – Phasen</vt:lpstr>
      <vt:lpstr>Aufgaben für Deutschland</vt:lpstr>
      <vt:lpstr>HNS durch Zivilgewerbliche Leistungen</vt:lpstr>
      <vt:lpstr>Joint Support and Enabling Command</vt:lpstr>
      <vt:lpstr>Übrigens… Return of Forces to Germany (Reforger) 1988</vt:lpstr>
    </vt:vector>
  </TitlesOfParts>
  <Company>Bundesweh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sterpräsentation</dc:title>
  <dc:creator>Poulheim, Nathalie</dc:creator>
  <cp:lastModifiedBy>Richard Rohde</cp:lastModifiedBy>
  <cp:revision>188</cp:revision>
  <cp:lastPrinted>2020-02-19T14:19:16Z</cp:lastPrinted>
  <dcterms:created xsi:type="dcterms:W3CDTF">2018-10-08T13:21:17Z</dcterms:created>
  <dcterms:modified xsi:type="dcterms:W3CDTF">2020-02-29T10:25:51Z</dcterms:modified>
</cp:coreProperties>
</file>